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758" r:id="rId4"/>
  </p:sldMasterIdLst>
  <p:notesMasterIdLst>
    <p:notesMasterId r:id="rId11"/>
  </p:notesMasterIdLst>
  <p:handoutMasterIdLst>
    <p:handoutMasterId r:id="rId12"/>
  </p:handoutMasterIdLst>
  <p:sldIdLst>
    <p:sldId id="2926" r:id="rId5"/>
    <p:sldId id="3056" r:id="rId6"/>
    <p:sldId id="3057" r:id="rId7"/>
    <p:sldId id="3055" r:id="rId8"/>
    <p:sldId id="3058" r:id="rId9"/>
    <p:sldId id="3031" r:id="rId10"/>
  </p:sldIdLst>
  <p:sldSz cx="12190413" cy="6858000"/>
  <p:notesSz cx="7315200" cy="12344400"/>
  <p:custDataLst>
    <p:tags r:id="rId13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1300" b="1" kern="1200">
        <a:solidFill>
          <a:schemeClr val="tx1"/>
        </a:solidFill>
        <a:latin typeface="Arial Narrow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300" b="1" kern="1200">
        <a:solidFill>
          <a:schemeClr val="tx1"/>
        </a:solidFill>
        <a:latin typeface="Arial Narrow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300" b="1" kern="1200">
        <a:solidFill>
          <a:schemeClr val="tx1"/>
        </a:solidFill>
        <a:latin typeface="Arial Narrow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300" b="1" kern="1200">
        <a:solidFill>
          <a:schemeClr val="tx1"/>
        </a:solidFill>
        <a:latin typeface="Arial Narrow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300" b="1" kern="1200">
        <a:solidFill>
          <a:schemeClr val="tx1"/>
        </a:solidFill>
        <a:latin typeface="Arial Narrow" charset="0"/>
        <a:ea typeface="+mn-ea"/>
        <a:cs typeface="+mn-cs"/>
      </a:defRPr>
    </a:lvl5pPr>
    <a:lvl6pPr marL="2286000" algn="l" defTabSz="914400" rtl="0" eaLnBrk="1" latinLnBrk="0" hangingPunct="1">
      <a:defRPr sz="1300" b="1" kern="1200">
        <a:solidFill>
          <a:schemeClr val="tx1"/>
        </a:solidFill>
        <a:latin typeface="Arial Narrow" charset="0"/>
        <a:ea typeface="+mn-ea"/>
        <a:cs typeface="+mn-cs"/>
      </a:defRPr>
    </a:lvl6pPr>
    <a:lvl7pPr marL="2743200" algn="l" defTabSz="914400" rtl="0" eaLnBrk="1" latinLnBrk="0" hangingPunct="1">
      <a:defRPr sz="1300" b="1" kern="1200">
        <a:solidFill>
          <a:schemeClr val="tx1"/>
        </a:solidFill>
        <a:latin typeface="Arial Narrow" charset="0"/>
        <a:ea typeface="+mn-ea"/>
        <a:cs typeface="+mn-cs"/>
      </a:defRPr>
    </a:lvl7pPr>
    <a:lvl8pPr marL="3200400" algn="l" defTabSz="914400" rtl="0" eaLnBrk="1" latinLnBrk="0" hangingPunct="1">
      <a:defRPr sz="1300" b="1" kern="1200">
        <a:solidFill>
          <a:schemeClr val="tx1"/>
        </a:solidFill>
        <a:latin typeface="Arial Narrow" charset="0"/>
        <a:ea typeface="+mn-ea"/>
        <a:cs typeface="+mn-cs"/>
      </a:defRPr>
    </a:lvl8pPr>
    <a:lvl9pPr marL="3657600" algn="l" defTabSz="914400" rtl="0" eaLnBrk="1" latinLnBrk="0" hangingPunct="1">
      <a:defRPr sz="1300" b="1" kern="1200">
        <a:solidFill>
          <a:schemeClr val="tx1"/>
        </a:solidFill>
        <a:latin typeface="Arial Narrow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888" userDrawn="1">
          <p15:clr>
            <a:srgbClr val="A4A3A4"/>
          </p15:clr>
        </p15:guide>
        <p15:guide id="2" pos="2304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Aurelian-Octavian CIUCA" initials="AC" lastIdx="1" clrIdx="6">
    <p:extLst>
      <p:ext uri="{19B8F6BF-5375-455C-9EA6-DF929625EA0E}">
        <p15:presenceInfo xmlns:p15="http://schemas.microsoft.com/office/powerpoint/2012/main" userId="S-1-5-21-3423140657-3362475094-761499960-3718" providerId="AD"/>
      </p:ext>
    </p:extLst>
  </p:cmAuthor>
  <p:cmAuthor id="1" name="Mihai Ioanitescu" initials="MI" lastIdx="18" clrIdx="0">
    <p:extLst>
      <p:ext uri="{19B8F6BF-5375-455C-9EA6-DF929625EA0E}">
        <p15:presenceInfo xmlns:p15="http://schemas.microsoft.com/office/powerpoint/2012/main" userId="S-1-5-21-1960408961-884357618-1801674531-9421" providerId="AD"/>
      </p:ext>
    </p:extLst>
  </p:cmAuthor>
  <p:cmAuthor id="2" name="Catalina Popa" initials="CP" lastIdx="5" clrIdx="1">
    <p:extLst>
      <p:ext uri="{19B8F6BF-5375-455C-9EA6-DF929625EA0E}">
        <p15:presenceInfo xmlns:p15="http://schemas.microsoft.com/office/powerpoint/2012/main" userId="S-1-5-21-1960408961-884357618-1801674531-9565" providerId="AD"/>
      </p:ext>
    </p:extLst>
  </p:cmAuthor>
  <p:cmAuthor id="3" name="Marius Cristian Androne" initials="MCA" lastIdx="3" clrIdx="2">
    <p:extLst>
      <p:ext uri="{19B8F6BF-5375-455C-9EA6-DF929625EA0E}">
        <p15:presenceInfo xmlns:p15="http://schemas.microsoft.com/office/powerpoint/2012/main" userId="S-1-5-21-3423140657-3362475094-761499960-2719" providerId="AD"/>
      </p:ext>
    </p:extLst>
  </p:cmAuthor>
  <p:cmAuthor id="4" name="Georgescu Constantin-Adrian" initials="GC" lastIdx="2" clrIdx="3">
    <p:extLst>
      <p:ext uri="{19B8F6BF-5375-455C-9EA6-DF929625EA0E}">
        <p15:presenceInfo xmlns:p15="http://schemas.microsoft.com/office/powerpoint/2012/main" userId="S-1-5-21-3423140657-3362475094-761499960-3693" providerId="AD"/>
      </p:ext>
    </p:extLst>
  </p:cmAuthor>
  <p:cmAuthor id="5" name="Corina VASILE" initials="CV" lastIdx="2" clrIdx="4">
    <p:extLst>
      <p:ext uri="{19B8F6BF-5375-455C-9EA6-DF929625EA0E}">
        <p15:presenceInfo xmlns:p15="http://schemas.microsoft.com/office/powerpoint/2012/main" userId="S-1-5-21-3423140657-3362475094-761499960-4659" providerId="AD"/>
      </p:ext>
    </p:extLst>
  </p:cmAuthor>
  <p:cmAuthor id="6" name="Alexandru VARTANIAN" initials="AV" lastIdx="8" clrIdx="5">
    <p:extLst>
      <p:ext uri="{19B8F6BF-5375-455C-9EA6-DF929625EA0E}">
        <p15:presenceInfo xmlns:p15="http://schemas.microsoft.com/office/powerpoint/2012/main" userId="S-1-5-21-3423140657-3362475094-761499960-565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FBD"/>
    <a:srgbClr val="FF9933"/>
    <a:srgbClr val="FF9900"/>
    <a:srgbClr val="003760"/>
    <a:srgbClr val="00518E"/>
    <a:srgbClr val="006496"/>
    <a:srgbClr val="FF5050"/>
    <a:srgbClr val="00AAC9"/>
    <a:srgbClr val="EAEFF4"/>
    <a:srgbClr val="5EC1E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25C2AB7-1E71-4B97-B3E1-D5E788657EDB}" v="4" dt="2021-05-17T04:22:23.35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659" autoAdjust="0"/>
    <p:restoredTop sz="93979" autoAdjust="0"/>
  </p:normalViewPr>
  <p:slideViewPr>
    <p:cSldViewPr snapToGrid="0">
      <p:cViewPr varScale="1">
        <p:scale>
          <a:sx n="86" d="100"/>
          <a:sy n="86" d="100"/>
        </p:scale>
        <p:origin x="437" y="4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5478"/>
    </p:cViewPr>
  </p:sorterViewPr>
  <p:notesViewPr>
    <p:cSldViewPr snapToGrid="0">
      <p:cViewPr varScale="1">
        <p:scale>
          <a:sx n="48" d="100"/>
          <a:sy n="48" d="100"/>
        </p:scale>
        <p:origin x="2728" y="32"/>
      </p:cViewPr>
      <p:guideLst>
        <p:guide orient="horz" pos="3888"/>
        <p:guide pos="230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handoutMaster" Target="handoutMasters/handout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commentAuthors" Target="commentAuthors.xml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3170265" cy="618013"/>
          </a:xfrm>
          <a:prstGeom prst="rect">
            <a:avLst/>
          </a:prstGeom>
        </p:spPr>
        <p:txBody>
          <a:bodyPr vert="horz" lIns="94704" tIns="47352" rIns="94704" bIns="47352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215" y="1"/>
            <a:ext cx="3170265" cy="618013"/>
          </a:xfrm>
          <a:prstGeom prst="rect">
            <a:avLst/>
          </a:prstGeom>
        </p:spPr>
        <p:txBody>
          <a:bodyPr vert="horz" lIns="94704" tIns="47352" rIns="94704" bIns="47352" rtlCol="0"/>
          <a:lstStyle>
            <a:lvl1pPr algn="r">
              <a:defRPr sz="1200"/>
            </a:lvl1pPr>
          </a:lstStyle>
          <a:p>
            <a:fld id="{B1F6FCDC-B0B8-4243-8340-DCE9AB0F745C}" type="datetimeFigureOut">
              <a:rPr lang="en-US" smtClean="0"/>
              <a:t>5/17/2021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215" y="11724409"/>
            <a:ext cx="3170265" cy="618013"/>
          </a:xfrm>
          <a:prstGeom prst="rect">
            <a:avLst/>
          </a:prstGeom>
        </p:spPr>
        <p:txBody>
          <a:bodyPr vert="horz" lIns="94704" tIns="47352" rIns="94704" bIns="47352" rtlCol="0" anchor="b"/>
          <a:lstStyle>
            <a:lvl1pPr algn="r">
              <a:defRPr sz="1200"/>
            </a:lvl1pPr>
          </a:lstStyle>
          <a:p>
            <a:fld id="{BBC2DC86-18DF-44F7-B539-BDC8A3E3733B}" type="slidenum">
              <a:rPr lang="en-US" smtClean="0"/>
              <a:t>‹#›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2013" y="11281958"/>
            <a:ext cx="758452" cy="903610"/>
          </a:xfrm>
          <a:prstGeom prst="rect">
            <a:avLst/>
          </a:prstGeom>
        </p:spPr>
      </p:pic>
      <p:sp>
        <p:nvSpPr>
          <p:cNvPr id="7" name="Footer Placeholder 6"/>
          <p:cNvSpPr>
            <a:spLocks noGrp="1"/>
          </p:cNvSpPr>
          <p:nvPr>
            <p:ph type="ftr" sz="quarter" idx="2"/>
          </p:nvPr>
        </p:nvSpPr>
        <p:spPr>
          <a:xfrm>
            <a:off x="0" y="11725497"/>
            <a:ext cx="3169810" cy="618904"/>
          </a:xfrm>
          <a:prstGeom prst="rect">
            <a:avLst/>
          </a:prstGeom>
        </p:spPr>
        <p:txBody>
          <a:bodyPr vert="horz" lIns="94704" tIns="47352" rIns="94704" bIns="47352" rtlCol="0" anchor="b"/>
          <a:lstStyle>
            <a:lvl1pPr algn="l">
              <a:defRPr sz="12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69248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3170265" cy="618013"/>
          </a:xfrm>
          <a:prstGeom prst="rect">
            <a:avLst/>
          </a:prstGeom>
        </p:spPr>
        <p:txBody>
          <a:bodyPr vert="horz" lIns="94704" tIns="47352" rIns="94704" bIns="47352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215" y="1"/>
            <a:ext cx="3170265" cy="618013"/>
          </a:xfrm>
          <a:prstGeom prst="rect">
            <a:avLst/>
          </a:prstGeom>
        </p:spPr>
        <p:txBody>
          <a:bodyPr vert="horz" lIns="94704" tIns="47352" rIns="94704" bIns="47352" rtlCol="0"/>
          <a:lstStyle>
            <a:lvl1pPr algn="r">
              <a:defRPr sz="1200"/>
            </a:lvl1pPr>
          </a:lstStyle>
          <a:p>
            <a:fld id="{AFD3789F-4648-4EA5-B177-1CC728AD3929}" type="datetimeFigureOut">
              <a:rPr lang="en-US" smtClean="0"/>
              <a:t>5/17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-455613" y="923925"/>
            <a:ext cx="8226426" cy="4629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704" tIns="47352" rIns="94704" bIns="47352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866" y="5863195"/>
            <a:ext cx="5851472" cy="5556169"/>
          </a:xfrm>
          <a:prstGeom prst="rect">
            <a:avLst/>
          </a:prstGeom>
        </p:spPr>
        <p:txBody>
          <a:bodyPr vert="horz" lIns="94704" tIns="47352" rIns="94704" bIns="47352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11724409"/>
            <a:ext cx="3170265" cy="618013"/>
          </a:xfrm>
          <a:prstGeom prst="rect">
            <a:avLst/>
          </a:prstGeom>
        </p:spPr>
        <p:txBody>
          <a:bodyPr vert="horz" lIns="94704" tIns="47352" rIns="94704" bIns="47352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215" y="11724409"/>
            <a:ext cx="3170265" cy="618013"/>
          </a:xfrm>
          <a:prstGeom prst="rect">
            <a:avLst/>
          </a:prstGeom>
        </p:spPr>
        <p:txBody>
          <a:bodyPr vert="horz" lIns="94704" tIns="47352" rIns="94704" bIns="47352" rtlCol="0" anchor="b"/>
          <a:lstStyle>
            <a:lvl1pPr algn="r">
              <a:defRPr sz="1200"/>
            </a:lvl1pPr>
          </a:lstStyle>
          <a:p>
            <a:fld id="{FB3DFC10-1456-4539-8175-254A373B5C1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93013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6.xml"/><Relationship Id="rId7" Type="http://schemas.openxmlformats.org/officeDocument/2006/relationships/image" Target="../media/image1.emf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.xml"/><Relationship Id="rId9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1.xml"/><Relationship Id="rId7" Type="http://schemas.openxmlformats.org/officeDocument/2006/relationships/tags" Target="../tags/tag45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tags" Target="../tags/tag44.xml"/><Relationship Id="rId5" Type="http://schemas.openxmlformats.org/officeDocument/2006/relationships/tags" Target="../tags/tag43.xml"/><Relationship Id="rId10" Type="http://schemas.openxmlformats.org/officeDocument/2006/relationships/image" Target="../media/image1.emf"/><Relationship Id="rId4" Type="http://schemas.openxmlformats.org/officeDocument/2006/relationships/tags" Target="../tags/tag42.xml"/><Relationship Id="rId9" Type="http://schemas.openxmlformats.org/officeDocument/2006/relationships/oleObject" Target="../embeddings/oleObject1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1.emf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5.emf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5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2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6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Relationship Id="rId9" Type="http://schemas.openxmlformats.org/officeDocument/2006/relationships/image" Target="../media/image2.png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5" Type="http://schemas.openxmlformats.org/officeDocument/2006/relationships/tags" Target="../tags/tag27.xml"/><Relationship Id="rId10" Type="http://schemas.openxmlformats.org/officeDocument/2006/relationships/image" Target="../media/image1.emf"/><Relationship Id="rId4" Type="http://schemas.openxmlformats.org/officeDocument/2006/relationships/tags" Target="../tags/tag26.xml"/><Relationship Id="rId9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tags" Target="../tags/tag30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2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8.bin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6.xml"/><Relationship Id="rId7" Type="http://schemas.openxmlformats.org/officeDocument/2006/relationships/oleObject" Target="../embeddings/oleObject9.bin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8.xml"/><Relationship Id="rId4" Type="http://schemas.openxmlformats.org/officeDocument/2006/relationships/tags" Target="../tags/tag37.xml"/><Relationship Id="rId9" Type="http://schemas.openxmlformats.org/officeDocument/2006/relationships/image" Target="../media/image2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C7789547-21D9-4067-9D7C-794B3595C35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1"/>
            <p:custDataLst>
              <p:tags r:id="rId3"/>
            </p:custDataLst>
          </p:nvPr>
        </p:nvSpPr>
        <p:spPr>
          <a:xfrm>
            <a:off x="12271633" y="178643"/>
            <a:ext cx="24046" cy="3077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200" b="0">
                <a:solidFill>
                  <a:schemeClr val="bg1">
                    <a:lumMod val="75000"/>
                  </a:schemeClr>
                </a:solidFill>
                <a:latin typeface="+mn-lt"/>
                <a:cs typeface="+mn-cs"/>
                <a:sym typeface="+mn-lt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1940DDA-0656-452C-A408-68789653BD9B}" type="slidenum">
              <a:rPr kumimoji="0" lang="en-US" sz="2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2"/>
            <p:custDataLst>
              <p:tags r:id="rId4"/>
            </p:custDataLst>
          </p:nvPr>
        </p:nvSpPr>
        <p:spPr>
          <a:xfrm>
            <a:off x="12271634" y="228649"/>
            <a:ext cx="65" cy="30778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00" b="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8000" y="666000"/>
            <a:ext cx="10792808" cy="860400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D9B3C7C8-4D14-4E60-9DA6-C82E2FB5F069}"/>
              </a:ext>
            </a:extLst>
          </p:cNvPr>
          <p:cNvGrpSpPr/>
          <p:nvPr userDrawn="1"/>
        </p:nvGrpSpPr>
        <p:grpSpPr>
          <a:xfrm>
            <a:off x="11696700" y="0"/>
            <a:ext cx="493713" cy="6858000"/>
            <a:chOff x="11696700" y="0"/>
            <a:chExt cx="493713" cy="685800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08C70D5E-EBCC-4098-8DBC-5FE94525FBC1}"/>
                </a:ext>
              </a:extLst>
            </p:cNvPr>
            <p:cNvSpPr/>
            <p:nvPr/>
          </p:nvSpPr>
          <p:spPr>
            <a:xfrm>
              <a:off x="11876088" y="0"/>
              <a:ext cx="314325" cy="6858000"/>
            </a:xfrm>
            <a:prstGeom prst="rect">
              <a:avLst/>
            </a:prstGeom>
            <a:solidFill>
              <a:srgbClr val="007FBD"/>
            </a:solidFill>
            <a:ln w="9525">
              <a:noFill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2000" tIns="72000" rIns="72000" bIns="72000" rtlCol="0" anchor="t" anchorCtr="0">
              <a:no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ts val="4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42E14C9A-A5A2-47C5-91EF-4A42061EEF56}"/>
                </a:ext>
              </a:extLst>
            </p:cNvPr>
            <p:cNvSpPr/>
            <p:nvPr/>
          </p:nvSpPr>
          <p:spPr>
            <a:xfrm>
              <a:off x="11696700" y="0"/>
              <a:ext cx="188913" cy="6858000"/>
            </a:xfrm>
            <a:prstGeom prst="rect">
              <a:avLst/>
            </a:prstGeom>
            <a:solidFill>
              <a:srgbClr val="5EC1EE"/>
            </a:solidFill>
            <a:ln w="9525">
              <a:noFill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2000" tIns="72000" rIns="72000" bIns="72000" rtlCol="0" anchor="t" anchorCtr="0">
              <a:no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ts val="4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494F580E-F790-44DF-89A5-E8ECE4EF71AF}"/>
                </a:ext>
              </a:extLst>
            </p:cNvPr>
            <p:cNvGrpSpPr/>
            <p:nvPr/>
          </p:nvGrpSpPr>
          <p:grpSpPr>
            <a:xfrm>
              <a:off x="11810999" y="343796"/>
              <a:ext cx="171451" cy="6514204"/>
              <a:chOff x="11801474" y="343796"/>
              <a:chExt cx="171451" cy="6514204"/>
            </a:xfrm>
          </p:grpSpPr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434FD21D-267A-4C2C-B63F-D81BD1D6954E}"/>
                  </a:ext>
                </a:extLst>
              </p:cNvPr>
              <p:cNvSpPr/>
              <p:nvPr/>
            </p:nvSpPr>
            <p:spPr>
              <a:xfrm rot="5400000" flipH="1">
                <a:off x="11733903" y="411367"/>
                <a:ext cx="306594" cy="171451"/>
              </a:xfrm>
              <a:custGeom>
                <a:avLst/>
                <a:gdLst>
                  <a:gd name="connsiteX0" fmla="*/ 1447798 w 1447798"/>
                  <a:gd name="connsiteY0" fmla="*/ 614362 h 809626"/>
                  <a:gd name="connsiteX1" fmla="*/ 1366836 w 1447798"/>
                  <a:gd name="connsiteY1" fmla="*/ 533400 h 809626"/>
                  <a:gd name="connsiteX2" fmla="*/ 1085848 w 1447798"/>
                  <a:gd name="connsiteY2" fmla="*/ 533400 h 809626"/>
                  <a:gd name="connsiteX3" fmla="*/ 1085848 w 1447798"/>
                  <a:gd name="connsiteY3" fmla="*/ 276224 h 809626"/>
                  <a:gd name="connsiteX4" fmla="*/ 1366836 w 1447798"/>
                  <a:gd name="connsiteY4" fmla="*/ 276224 h 809626"/>
                  <a:gd name="connsiteX5" fmla="*/ 1447798 w 1447798"/>
                  <a:gd name="connsiteY5" fmla="*/ 195262 h 809626"/>
                  <a:gd name="connsiteX6" fmla="*/ 1366836 w 1447798"/>
                  <a:gd name="connsiteY6" fmla="*/ 114300 h 809626"/>
                  <a:gd name="connsiteX7" fmla="*/ 1085848 w 1447798"/>
                  <a:gd name="connsiteY7" fmla="*/ 114300 h 809626"/>
                  <a:gd name="connsiteX8" fmla="*/ 1085848 w 1447798"/>
                  <a:gd name="connsiteY8" fmla="*/ 0 h 809626"/>
                  <a:gd name="connsiteX9" fmla="*/ 681035 w 1447798"/>
                  <a:gd name="connsiteY9" fmla="*/ 0 h 809626"/>
                  <a:gd name="connsiteX10" fmla="*/ 308034 w 1447798"/>
                  <a:gd name="connsiteY10" fmla="*/ 247241 h 809626"/>
                  <a:gd name="connsiteX11" fmla="*/ 297558 w 1447798"/>
                  <a:gd name="connsiteY11" fmla="*/ 280988 h 809626"/>
                  <a:gd name="connsiteX12" fmla="*/ 123825 w 1447798"/>
                  <a:gd name="connsiteY12" fmla="*/ 280988 h 809626"/>
                  <a:gd name="connsiteX13" fmla="*/ 9730 w 1447798"/>
                  <a:gd name="connsiteY13" fmla="*/ 356615 h 809626"/>
                  <a:gd name="connsiteX14" fmla="*/ 0 w 1447798"/>
                  <a:gd name="connsiteY14" fmla="*/ 404813 h 809626"/>
                  <a:gd name="connsiteX15" fmla="*/ 9730 w 1447798"/>
                  <a:gd name="connsiteY15" fmla="*/ 453011 h 809626"/>
                  <a:gd name="connsiteX16" fmla="*/ 123825 w 1447798"/>
                  <a:gd name="connsiteY16" fmla="*/ 528637 h 809626"/>
                  <a:gd name="connsiteX17" fmla="*/ 297559 w 1447798"/>
                  <a:gd name="connsiteY17" fmla="*/ 528638 h 809626"/>
                  <a:gd name="connsiteX18" fmla="*/ 308034 w 1447798"/>
                  <a:gd name="connsiteY18" fmla="*/ 562385 h 809626"/>
                  <a:gd name="connsiteX19" fmla="*/ 681035 w 1447798"/>
                  <a:gd name="connsiteY19" fmla="*/ 809626 h 809626"/>
                  <a:gd name="connsiteX20" fmla="*/ 1085848 w 1447798"/>
                  <a:gd name="connsiteY20" fmla="*/ 809625 h 809626"/>
                  <a:gd name="connsiteX21" fmla="*/ 1085848 w 1447798"/>
                  <a:gd name="connsiteY21" fmla="*/ 695324 h 809626"/>
                  <a:gd name="connsiteX22" fmla="*/ 1366836 w 1447798"/>
                  <a:gd name="connsiteY22" fmla="*/ 695324 h 809626"/>
                  <a:gd name="connsiteX23" fmla="*/ 1447798 w 1447798"/>
                  <a:gd name="connsiteY23" fmla="*/ 614362 h 8096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447798" h="809626">
                    <a:moveTo>
                      <a:pt x="1447798" y="614362"/>
                    </a:moveTo>
                    <a:cubicBezTo>
                      <a:pt x="1447798" y="569648"/>
                      <a:pt x="1411550" y="533400"/>
                      <a:pt x="1366836" y="533400"/>
                    </a:cubicBezTo>
                    <a:lnTo>
                      <a:pt x="1085848" y="533400"/>
                    </a:lnTo>
                    <a:lnTo>
                      <a:pt x="1085848" y="276224"/>
                    </a:lnTo>
                    <a:lnTo>
                      <a:pt x="1366836" y="276224"/>
                    </a:lnTo>
                    <a:cubicBezTo>
                      <a:pt x="1411550" y="276224"/>
                      <a:pt x="1447798" y="239976"/>
                      <a:pt x="1447798" y="195262"/>
                    </a:cubicBezTo>
                    <a:cubicBezTo>
                      <a:pt x="1447798" y="150548"/>
                      <a:pt x="1411550" y="114300"/>
                      <a:pt x="1366836" y="114300"/>
                    </a:cubicBezTo>
                    <a:lnTo>
                      <a:pt x="1085848" y="114300"/>
                    </a:lnTo>
                    <a:lnTo>
                      <a:pt x="1085848" y="0"/>
                    </a:lnTo>
                    <a:lnTo>
                      <a:pt x="681035" y="0"/>
                    </a:lnTo>
                    <a:cubicBezTo>
                      <a:pt x="513356" y="0"/>
                      <a:pt x="369488" y="101948"/>
                      <a:pt x="308034" y="247241"/>
                    </a:cubicBezTo>
                    <a:lnTo>
                      <a:pt x="297558" y="280988"/>
                    </a:lnTo>
                    <a:lnTo>
                      <a:pt x="123825" y="280988"/>
                    </a:lnTo>
                    <a:cubicBezTo>
                      <a:pt x="72534" y="280988"/>
                      <a:pt x="28528" y="312172"/>
                      <a:pt x="9730" y="356615"/>
                    </a:cubicBezTo>
                    <a:lnTo>
                      <a:pt x="0" y="404813"/>
                    </a:lnTo>
                    <a:lnTo>
                      <a:pt x="9730" y="453011"/>
                    </a:lnTo>
                    <a:cubicBezTo>
                      <a:pt x="28528" y="497453"/>
                      <a:pt x="72534" y="528637"/>
                      <a:pt x="123825" y="528637"/>
                    </a:cubicBezTo>
                    <a:lnTo>
                      <a:pt x="297559" y="528638"/>
                    </a:lnTo>
                    <a:lnTo>
                      <a:pt x="308034" y="562385"/>
                    </a:lnTo>
                    <a:cubicBezTo>
                      <a:pt x="369488" y="707678"/>
                      <a:pt x="513356" y="809626"/>
                      <a:pt x="681035" y="809626"/>
                    </a:cubicBezTo>
                    <a:lnTo>
                      <a:pt x="1085848" y="809625"/>
                    </a:lnTo>
                    <a:lnTo>
                      <a:pt x="1085848" y="695324"/>
                    </a:lnTo>
                    <a:lnTo>
                      <a:pt x="1366836" y="695324"/>
                    </a:lnTo>
                    <a:cubicBezTo>
                      <a:pt x="1411550" y="695324"/>
                      <a:pt x="1447798" y="659076"/>
                      <a:pt x="1447798" y="61436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lIns="72000" tIns="72000" rIns="72000" bIns="72000" rtlCol="0" anchor="t" anchorCtr="0">
                <a:no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90000"/>
                  </a:lnSpc>
                  <a:spcBef>
                    <a:spcPts val="4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cxnSp>
            <p:nvCxnSpPr>
              <p:cNvPr id="15" name="VerticalLine15">
                <a:extLst>
                  <a:ext uri="{FF2B5EF4-FFF2-40B4-BE49-F238E27FC236}">
                    <a16:creationId xmlns:a16="http://schemas.microsoft.com/office/drawing/2014/main" id="{2010CDED-4A36-4A11-8848-30DCB8396B2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887200" y="630236"/>
                <a:ext cx="0" cy="6227764"/>
              </a:xfrm>
              <a:prstGeom prst="line">
                <a:avLst/>
              </a:prstGeom>
              <a:ln w="22225" cmpd="sng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18" name="Picture 2" descr="Image result for logo electrica">
            <a:extLst>
              <a:ext uri="{FF2B5EF4-FFF2-40B4-BE49-F238E27FC236}">
                <a16:creationId xmlns:a16="http://schemas.microsoft.com/office/drawing/2014/main" id="{A62451DE-B973-4B7A-8EB6-8B2F4B2FC28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7917" y="6414892"/>
            <a:ext cx="628872" cy="2211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B78BFEA5-B51B-4274-BA4C-BD471745FCBE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197888" y="6412890"/>
            <a:ext cx="603635" cy="216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036709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86684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EA9E255-9378-4D8C-B0F9-BB1F56FB8E8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l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21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Slide Number Placeholder" hidden="1"/>
          <p:cNvSpPr>
            <a:spLocks noGrp="1"/>
          </p:cNvSpPr>
          <p:nvPr>
            <p:ph type="sldNum" sz="quarter" idx="11"/>
            <p:custDataLst>
              <p:tags r:id="rId3"/>
            </p:custDataLst>
          </p:nvPr>
        </p:nvSpPr>
        <p:spPr>
          <a:xfrm>
            <a:off x="12271633" y="178643"/>
            <a:ext cx="24046" cy="3077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200" b="0">
                <a:solidFill>
                  <a:schemeClr val="bg1">
                    <a:lumMod val="75000"/>
                  </a:schemeClr>
                </a:solidFill>
                <a:latin typeface="+mn-lt"/>
                <a:cs typeface="+mn-cs"/>
                <a:sym typeface="+mn-lt"/>
              </a:defRPr>
            </a:lvl1pPr>
          </a:lstStyle>
          <a:p>
            <a:fld id="{01940DDA-0656-452C-A408-68789653BD9B}" type="slidenum">
              <a:rPr lang="en-US" smtClean="0">
                <a:latin typeface="+mn-lt"/>
              </a:rPr>
              <a:pPr/>
              <a:t>‹#›</a:t>
            </a:fld>
            <a:endParaRPr lang="en-US" dirty="0">
              <a:latin typeface="+mn-lt"/>
            </a:endParaRPr>
          </a:p>
        </p:txBody>
      </p:sp>
      <p:sp>
        <p:nvSpPr>
          <p:cNvPr id="16" name="Footer Placeholder" hidden="1"/>
          <p:cNvSpPr>
            <a:spLocks noGrp="1"/>
          </p:cNvSpPr>
          <p:nvPr>
            <p:ph type="ftr" sz="quarter" idx="12"/>
            <p:custDataLst>
              <p:tags r:id="rId4"/>
            </p:custDataLst>
          </p:nvPr>
        </p:nvSpPr>
        <p:spPr>
          <a:xfrm>
            <a:off x="12271634" y="228649"/>
            <a:ext cx="65" cy="30778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00" b="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latin typeface="+mn-lt"/>
            </a:endParaRPr>
          </a:p>
        </p:txBody>
      </p:sp>
      <p:sp>
        <p:nvSpPr>
          <p:cNvPr id="5" name="Contents Text"/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738000" y="1710000"/>
            <a:ext cx="10792808" cy="2862835"/>
          </a:xfrm>
        </p:spPr>
        <p:txBody>
          <a:bodyPr wrap="square">
            <a:spAutoFit/>
          </a:bodyPr>
          <a:lstStyle>
            <a:lvl1pPr marL="360000" indent="-360000">
              <a:spcBef>
                <a:spcPts val="2000"/>
              </a:spcBef>
              <a:tabLst>
                <a:tab pos="10792800" algn="r"/>
              </a:tabLst>
              <a:defRPr sz="1700">
                <a:solidFill>
                  <a:schemeClr val="tx1"/>
                </a:solidFill>
                <a:latin typeface="+mn-lt"/>
                <a:cs typeface="+mn-cs"/>
                <a:sym typeface="+mn-lt"/>
              </a:defRPr>
            </a:lvl1pPr>
            <a:lvl2pPr marL="720000" indent="-360000">
              <a:spcBef>
                <a:spcPts val="600"/>
              </a:spcBef>
              <a:buNone/>
              <a:tabLst>
                <a:tab pos="10792800" algn="r"/>
              </a:tabLst>
              <a:defRPr sz="1700" b="0">
                <a:solidFill>
                  <a:schemeClr val="tx1"/>
                </a:solidFill>
                <a:latin typeface="+mn-lt"/>
                <a:sym typeface="+mn-lt"/>
              </a:defRPr>
            </a:lvl2pPr>
            <a:lvl3pPr marL="1260000" indent="-540000">
              <a:spcBef>
                <a:spcPts val="0"/>
              </a:spcBef>
              <a:buNone/>
              <a:tabLst>
                <a:tab pos="10792800" algn="r"/>
              </a:tabLst>
              <a:defRPr sz="1700">
                <a:solidFill>
                  <a:schemeClr val="tx1"/>
                </a:solidFill>
                <a:latin typeface="+mn-lt"/>
                <a:sym typeface="+mn-lt"/>
              </a:defRPr>
            </a:lvl3pPr>
            <a:lvl4pPr marL="1255713" indent="-534988">
              <a:buNone/>
              <a:tabLst>
                <a:tab pos="8521700" algn="r"/>
              </a:tabLst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A.	xxx	xx</a:t>
            </a:r>
          </a:p>
          <a:p>
            <a:pPr lvl="0"/>
            <a:r>
              <a:rPr lang="en-US" dirty="0"/>
              <a:t>B.	xxx	xx</a:t>
            </a:r>
          </a:p>
          <a:p>
            <a:pPr lvl="1"/>
            <a:r>
              <a:rPr lang="en-US" dirty="0"/>
              <a:t>1.	xxx	xx</a:t>
            </a:r>
          </a:p>
          <a:p>
            <a:pPr lvl="1"/>
            <a:r>
              <a:rPr lang="en-US" dirty="0"/>
              <a:t>2.	xxx	xx</a:t>
            </a:r>
          </a:p>
          <a:p>
            <a:pPr lvl="2"/>
            <a:r>
              <a:rPr lang="en-US" dirty="0"/>
              <a:t>2.1	xxx	xx</a:t>
            </a:r>
          </a:p>
          <a:p>
            <a:pPr lvl="2"/>
            <a:r>
              <a:rPr lang="en-US" dirty="0"/>
              <a:t>2.2	xxx	xx</a:t>
            </a:r>
          </a:p>
          <a:p>
            <a:pPr lvl="0"/>
            <a:r>
              <a:rPr lang="en-US" dirty="0"/>
              <a:t>C.	xxx	xx</a:t>
            </a:r>
          </a:p>
          <a:p>
            <a:pPr lvl="1"/>
            <a:r>
              <a:rPr lang="en-US" dirty="0"/>
              <a:t>1.	xxx	xx</a:t>
            </a:r>
          </a:p>
          <a:p>
            <a:pPr lvl="2"/>
            <a:r>
              <a:rPr lang="en-US" dirty="0"/>
              <a:t>1.1	xxx	xx</a:t>
            </a:r>
          </a:p>
        </p:txBody>
      </p:sp>
      <p:sp>
        <p:nvSpPr>
          <p:cNvPr id="13" name="Contents Title"/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738000" y="1040400"/>
            <a:ext cx="10792808" cy="3043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marL="0" marR="0" lvl="0" indent="0" defTabSz="914400" eaLnBrk="1" fontAlgn="auto" latinLnBrk="0" hangingPunct="1">
              <a:lnSpc>
                <a:spcPct val="93000"/>
              </a:lnSpc>
              <a:spcAft>
                <a:spcPts val="0"/>
              </a:spcAft>
              <a:buClrTx/>
              <a:buSzTx/>
              <a:buFontTx/>
              <a:buNone/>
              <a:tabLst>
                <a:tab pos="10792800" algn="r"/>
              </a:tabLst>
              <a:defRPr kumimoji="0" sz="210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</a:defRPr>
            </a:lvl1pPr>
          </a:lstStyle>
          <a:p>
            <a:pPr lvl="0"/>
            <a:r>
              <a:rPr lang="en-US" altLang="de-DE" noProof="1">
                <a:sym typeface="+mn-lt"/>
              </a:rPr>
              <a:t>Contents	Page</a:t>
            </a:r>
          </a:p>
        </p:txBody>
      </p:sp>
      <p:sp>
        <p:nvSpPr>
          <p:cNvPr id="14" name="Title"/>
          <p:cNvSpPr>
            <a:spLocks noGrp="1"/>
          </p:cNvSpPr>
          <p:nvPr>
            <p:ph type="title" hasCustomPrompt="1"/>
            <p:custDataLst>
              <p:tags r:id="rId7"/>
            </p:custDataLst>
          </p:nvPr>
        </p:nvSpPr>
        <p:spPr>
          <a:xfrm>
            <a:off x="1314902" y="1040400"/>
            <a:ext cx="792000" cy="300531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r" defTabSz="914400" rtl="0" eaLnBrk="1" latinLnBrk="0" hangingPunct="1">
              <a:lnSpc>
                <a:spcPct val="93000"/>
              </a:lnSpc>
              <a:spcBef>
                <a:spcPct val="0"/>
              </a:spcBef>
              <a:buNone/>
              <a:tabLst/>
              <a:defRPr lang="en-US" sz="2100" b="0" kern="120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+mn-lt"/>
              </a:defRPr>
            </a:lvl1pPr>
          </a:lstStyle>
          <a:p>
            <a:r>
              <a:rPr lang="en-US" noProof="1"/>
              <a:t>  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A0F4B133-6128-4197-BCE5-CB4F28B1D5A9}"/>
              </a:ext>
            </a:extLst>
          </p:cNvPr>
          <p:cNvGrpSpPr/>
          <p:nvPr userDrawn="1"/>
        </p:nvGrpSpPr>
        <p:grpSpPr>
          <a:xfrm>
            <a:off x="11696700" y="0"/>
            <a:ext cx="493713" cy="6858000"/>
            <a:chOff x="11696700" y="0"/>
            <a:chExt cx="493713" cy="6858000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08791043-7A4C-4BAB-B21C-4F1EB2E363D0}"/>
                </a:ext>
              </a:extLst>
            </p:cNvPr>
            <p:cNvSpPr/>
            <p:nvPr/>
          </p:nvSpPr>
          <p:spPr>
            <a:xfrm>
              <a:off x="11876088" y="0"/>
              <a:ext cx="314325" cy="6858000"/>
            </a:xfrm>
            <a:prstGeom prst="rect">
              <a:avLst/>
            </a:prstGeom>
            <a:solidFill>
              <a:srgbClr val="007FBD"/>
            </a:solidFill>
            <a:ln w="9525">
              <a:noFill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2000" tIns="72000" rIns="72000" bIns="72000" rtlCol="0" anchor="t" anchorCtr="0"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400"/>
                </a:spcBef>
              </a:pPr>
              <a:endParaRPr lang="en-US" sz="1500" b="0" dirty="0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6FDAEE11-B164-4D6A-A6B1-A7A99E6734E7}"/>
                </a:ext>
              </a:extLst>
            </p:cNvPr>
            <p:cNvSpPr/>
            <p:nvPr/>
          </p:nvSpPr>
          <p:spPr>
            <a:xfrm>
              <a:off x="11696700" y="0"/>
              <a:ext cx="188913" cy="6858000"/>
            </a:xfrm>
            <a:prstGeom prst="rect">
              <a:avLst/>
            </a:prstGeom>
            <a:solidFill>
              <a:srgbClr val="5EC1EE"/>
            </a:solidFill>
            <a:ln w="9525">
              <a:noFill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2000" tIns="72000" rIns="72000" bIns="72000" rtlCol="0" anchor="t" anchorCtr="0"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400"/>
                </a:spcBef>
              </a:pPr>
              <a:endParaRPr lang="en-US" sz="1500" b="0" dirty="0"/>
            </a:p>
          </p:txBody>
        </p: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936DF01F-5F95-4E89-BC18-4A57C6700A40}"/>
                </a:ext>
              </a:extLst>
            </p:cNvPr>
            <p:cNvGrpSpPr/>
            <p:nvPr/>
          </p:nvGrpSpPr>
          <p:grpSpPr>
            <a:xfrm>
              <a:off x="11810999" y="343796"/>
              <a:ext cx="171451" cy="6514204"/>
              <a:chOff x="11801474" y="343796"/>
              <a:chExt cx="171451" cy="6514204"/>
            </a:xfrm>
          </p:grpSpPr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8E79B6C5-9B8D-4CE1-A846-D5440035B27A}"/>
                  </a:ext>
                </a:extLst>
              </p:cNvPr>
              <p:cNvSpPr/>
              <p:nvPr/>
            </p:nvSpPr>
            <p:spPr>
              <a:xfrm rot="5400000" flipH="1">
                <a:off x="11733903" y="411367"/>
                <a:ext cx="306594" cy="171451"/>
              </a:xfrm>
              <a:custGeom>
                <a:avLst/>
                <a:gdLst>
                  <a:gd name="connsiteX0" fmla="*/ 1447798 w 1447798"/>
                  <a:gd name="connsiteY0" fmla="*/ 614362 h 809626"/>
                  <a:gd name="connsiteX1" fmla="*/ 1366836 w 1447798"/>
                  <a:gd name="connsiteY1" fmla="*/ 533400 h 809626"/>
                  <a:gd name="connsiteX2" fmla="*/ 1085848 w 1447798"/>
                  <a:gd name="connsiteY2" fmla="*/ 533400 h 809626"/>
                  <a:gd name="connsiteX3" fmla="*/ 1085848 w 1447798"/>
                  <a:gd name="connsiteY3" fmla="*/ 276224 h 809626"/>
                  <a:gd name="connsiteX4" fmla="*/ 1366836 w 1447798"/>
                  <a:gd name="connsiteY4" fmla="*/ 276224 h 809626"/>
                  <a:gd name="connsiteX5" fmla="*/ 1447798 w 1447798"/>
                  <a:gd name="connsiteY5" fmla="*/ 195262 h 809626"/>
                  <a:gd name="connsiteX6" fmla="*/ 1366836 w 1447798"/>
                  <a:gd name="connsiteY6" fmla="*/ 114300 h 809626"/>
                  <a:gd name="connsiteX7" fmla="*/ 1085848 w 1447798"/>
                  <a:gd name="connsiteY7" fmla="*/ 114300 h 809626"/>
                  <a:gd name="connsiteX8" fmla="*/ 1085848 w 1447798"/>
                  <a:gd name="connsiteY8" fmla="*/ 0 h 809626"/>
                  <a:gd name="connsiteX9" fmla="*/ 681035 w 1447798"/>
                  <a:gd name="connsiteY9" fmla="*/ 0 h 809626"/>
                  <a:gd name="connsiteX10" fmla="*/ 308034 w 1447798"/>
                  <a:gd name="connsiteY10" fmla="*/ 247241 h 809626"/>
                  <a:gd name="connsiteX11" fmla="*/ 297558 w 1447798"/>
                  <a:gd name="connsiteY11" fmla="*/ 280988 h 809626"/>
                  <a:gd name="connsiteX12" fmla="*/ 123825 w 1447798"/>
                  <a:gd name="connsiteY12" fmla="*/ 280988 h 809626"/>
                  <a:gd name="connsiteX13" fmla="*/ 9730 w 1447798"/>
                  <a:gd name="connsiteY13" fmla="*/ 356615 h 809626"/>
                  <a:gd name="connsiteX14" fmla="*/ 0 w 1447798"/>
                  <a:gd name="connsiteY14" fmla="*/ 404813 h 809626"/>
                  <a:gd name="connsiteX15" fmla="*/ 9730 w 1447798"/>
                  <a:gd name="connsiteY15" fmla="*/ 453011 h 809626"/>
                  <a:gd name="connsiteX16" fmla="*/ 123825 w 1447798"/>
                  <a:gd name="connsiteY16" fmla="*/ 528637 h 809626"/>
                  <a:gd name="connsiteX17" fmla="*/ 297559 w 1447798"/>
                  <a:gd name="connsiteY17" fmla="*/ 528638 h 809626"/>
                  <a:gd name="connsiteX18" fmla="*/ 308034 w 1447798"/>
                  <a:gd name="connsiteY18" fmla="*/ 562385 h 809626"/>
                  <a:gd name="connsiteX19" fmla="*/ 681035 w 1447798"/>
                  <a:gd name="connsiteY19" fmla="*/ 809626 h 809626"/>
                  <a:gd name="connsiteX20" fmla="*/ 1085848 w 1447798"/>
                  <a:gd name="connsiteY20" fmla="*/ 809625 h 809626"/>
                  <a:gd name="connsiteX21" fmla="*/ 1085848 w 1447798"/>
                  <a:gd name="connsiteY21" fmla="*/ 695324 h 809626"/>
                  <a:gd name="connsiteX22" fmla="*/ 1366836 w 1447798"/>
                  <a:gd name="connsiteY22" fmla="*/ 695324 h 809626"/>
                  <a:gd name="connsiteX23" fmla="*/ 1447798 w 1447798"/>
                  <a:gd name="connsiteY23" fmla="*/ 614362 h 8096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447798" h="809626">
                    <a:moveTo>
                      <a:pt x="1447798" y="614362"/>
                    </a:moveTo>
                    <a:cubicBezTo>
                      <a:pt x="1447798" y="569648"/>
                      <a:pt x="1411550" y="533400"/>
                      <a:pt x="1366836" y="533400"/>
                    </a:cubicBezTo>
                    <a:lnTo>
                      <a:pt x="1085848" y="533400"/>
                    </a:lnTo>
                    <a:lnTo>
                      <a:pt x="1085848" y="276224"/>
                    </a:lnTo>
                    <a:lnTo>
                      <a:pt x="1366836" y="276224"/>
                    </a:lnTo>
                    <a:cubicBezTo>
                      <a:pt x="1411550" y="276224"/>
                      <a:pt x="1447798" y="239976"/>
                      <a:pt x="1447798" y="195262"/>
                    </a:cubicBezTo>
                    <a:cubicBezTo>
                      <a:pt x="1447798" y="150548"/>
                      <a:pt x="1411550" y="114300"/>
                      <a:pt x="1366836" y="114300"/>
                    </a:cubicBezTo>
                    <a:lnTo>
                      <a:pt x="1085848" y="114300"/>
                    </a:lnTo>
                    <a:lnTo>
                      <a:pt x="1085848" y="0"/>
                    </a:lnTo>
                    <a:lnTo>
                      <a:pt x="681035" y="0"/>
                    </a:lnTo>
                    <a:cubicBezTo>
                      <a:pt x="513356" y="0"/>
                      <a:pt x="369488" y="101948"/>
                      <a:pt x="308034" y="247241"/>
                    </a:cubicBezTo>
                    <a:lnTo>
                      <a:pt x="297558" y="280988"/>
                    </a:lnTo>
                    <a:lnTo>
                      <a:pt x="123825" y="280988"/>
                    </a:lnTo>
                    <a:cubicBezTo>
                      <a:pt x="72534" y="280988"/>
                      <a:pt x="28528" y="312172"/>
                      <a:pt x="9730" y="356615"/>
                    </a:cubicBezTo>
                    <a:lnTo>
                      <a:pt x="0" y="404813"/>
                    </a:lnTo>
                    <a:lnTo>
                      <a:pt x="9730" y="453011"/>
                    </a:lnTo>
                    <a:cubicBezTo>
                      <a:pt x="28528" y="497453"/>
                      <a:pt x="72534" y="528637"/>
                      <a:pt x="123825" y="528637"/>
                    </a:cubicBezTo>
                    <a:lnTo>
                      <a:pt x="297559" y="528638"/>
                    </a:lnTo>
                    <a:lnTo>
                      <a:pt x="308034" y="562385"/>
                    </a:lnTo>
                    <a:cubicBezTo>
                      <a:pt x="369488" y="707678"/>
                      <a:pt x="513356" y="809626"/>
                      <a:pt x="681035" y="809626"/>
                    </a:cubicBezTo>
                    <a:lnTo>
                      <a:pt x="1085848" y="809625"/>
                    </a:lnTo>
                    <a:lnTo>
                      <a:pt x="1085848" y="695324"/>
                    </a:lnTo>
                    <a:lnTo>
                      <a:pt x="1366836" y="695324"/>
                    </a:lnTo>
                    <a:cubicBezTo>
                      <a:pt x="1411550" y="695324"/>
                      <a:pt x="1447798" y="659076"/>
                      <a:pt x="1447798" y="61436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lIns="72000" tIns="72000" rIns="72000" bIns="72000" rtlCol="0" anchor="t" anchorCtr="0"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400"/>
                  </a:spcBef>
                </a:pPr>
                <a:endParaRPr lang="en-US" sz="1500" b="0" dirty="0"/>
              </a:p>
            </p:txBody>
          </p:sp>
          <p:cxnSp>
            <p:nvCxnSpPr>
              <p:cNvPr id="24" name="VerticalLine15">
                <a:extLst>
                  <a:ext uri="{FF2B5EF4-FFF2-40B4-BE49-F238E27FC236}">
                    <a16:creationId xmlns:a16="http://schemas.microsoft.com/office/drawing/2014/main" id="{2279DA6E-0D65-4DCA-A2A0-F1BD415960B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887200" y="630236"/>
                <a:ext cx="0" cy="6227764"/>
              </a:xfrm>
              <a:prstGeom prst="line">
                <a:avLst/>
              </a:prstGeom>
              <a:ln w="22225" cmpd="sng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4829223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D219662-D429-4A7A-9700-2EBA210E022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3" name="Slide Number Placeholder" hidden="1"/>
          <p:cNvSpPr>
            <a:spLocks noGrp="1"/>
          </p:cNvSpPr>
          <p:nvPr>
            <p:ph type="sldNum" sz="quarter" idx="11"/>
            <p:custDataLst>
              <p:tags r:id="rId3"/>
            </p:custDataLst>
          </p:nvPr>
        </p:nvSpPr>
        <p:spPr>
          <a:xfrm>
            <a:off x="12271633" y="178643"/>
            <a:ext cx="24046" cy="3077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200" b="0">
                <a:solidFill>
                  <a:schemeClr val="bg1">
                    <a:lumMod val="75000"/>
                  </a:schemeClr>
                </a:solidFill>
                <a:latin typeface="+mn-lt"/>
                <a:cs typeface="+mn-cs"/>
                <a:sym typeface="+mn-lt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1940DDA-0656-452C-A408-68789653BD9B}" type="slidenum">
              <a:rPr kumimoji="0" lang="en-US" sz="2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4" name="Footer Placeholder" hidden="1"/>
          <p:cNvSpPr>
            <a:spLocks noGrp="1"/>
          </p:cNvSpPr>
          <p:nvPr>
            <p:ph type="ftr" sz="quarter" idx="12"/>
            <p:custDataLst>
              <p:tags r:id="rId4"/>
            </p:custDataLst>
          </p:nvPr>
        </p:nvSpPr>
        <p:spPr>
          <a:xfrm>
            <a:off x="12271634" y="228649"/>
            <a:ext cx="65" cy="30778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00" b="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8000" y="666000"/>
            <a:ext cx="10792808" cy="860400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12C906BC-BB6A-4FBB-B95B-FB9DEF338DFD}"/>
              </a:ext>
            </a:extLst>
          </p:cNvPr>
          <p:cNvGrpSpPr/>
          <p:nvPr userDrawn="1"/>
        </p:nvGrpSpPr>
        <p:grpSpPr>
          <a:xfrm>
            <a:off x="11696700" y="0"/>
            <a:ext cx="493713" cy="6858000"/>
            <a:chOff x="11696700" y="0"/>
            <a:chExt cx="493713" cy="6858000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473147AB-7F13-405C-A91B-25CD84FD5B49}"/>
                </a:ext>
              </a:extLst>
            </p:cNvPr>
            <p:cNvSpPr/>
            <p:nvPr/>
          </p:nvSpPr>
          <p:spPr>
            <a:xfrm>
              <a:off x="11876088" y="0"/>
              <a:ext cx="314325" cy="6858000"/>
            </a:xfrm>
            <a:prstGeom prst="rect">
              <a:avLst/>
            </a:prstGeom>
            <a:solidFill>
              <a:srgbClr val="007FBD"/>
            </a:solidFill>
            <a:ln w="9525">
              <a:noFill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2000" tIns="72000" rIns="72000" bIns="72000" rtlCol="0" anchor="t" anchorCtr="0">
              <a:no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ts val="4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203E7709-DFD9-4AFF-962D-E4BF451D9BA9}"/>
                </a:ext>
              </a:extLst>
            </p:cNvPr>
            <p:cNvSpPr/>
            <p:nvPr/>
          </p:nvSpPr>
          <p:spPr>
            <a:xfrm>
              <a:off x="11696700" y="0"/>
              <a:ext cx="188913" cy="6858000"/>
            </a:xfrm>
            <a:prstGeom prst="rect">
              <a:avLst/>
            </a:prstGeom>
            <a:solidFill>
              <a:srgbClr val="5EC1EE"/>
            </a:solidFill>
            <a:ln w="9525">
              <a:noFill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2000" tIns="72000" rIns="72000" bIns="72000" rtlCol="0" anchor="t" anchorCtr="0">
              <a:no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ts val="4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B4086FFE-47C2-408F-BCF2-88ACFAF480F5}"/>
                </a:ext>
              </a:extLst>
            </p:cNvPr>
            <p:cNvGrpSpPr/>
            <p:nvPr/>
          </p:nvGrpSpPr>
          <p:grpSpPr>
            <a:xfrm>
              <a:off x="11810999" y="343796"/>
              <a:ext cx="171451" cy="6514204"/>
              <a:chOff x="11801474" y="343796"/>
              <a:chExt cx="171451" cy="6514204"/>
            </a:xfrm>
          </p:grpSpPr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25358FA4-3D4B-49C5-8EC5-9FCF8E7B9E19}"/>
                  </a:ext>
                </a:extLst>
              </p:cNvPr>
              <p:cNvSpPr/>
              <p:nvPr/>
            </p:nvSpPr>
            <p:spPr>
              <a:xfrm rot="5400000" flipH="1">
                <a:off x="11733903" y="411367"/>
                <a:ext cx="306594" cy="171451"/>
              </a:xfrm>
              <a:custGeom>
                <a:avLst/>
                <a:gdLst>
                  <a:gd name="connsiteX0" fmla="*/ 1447798 w 1447798"/>
                  <a:gd name="connsiteY0" fmla="*/ 614362 h 809626"/>
                  <a:gd name="connsiteX1" fmla="*/ 1366836 w 1447798"/>
                  <a:gd name="connsiteY1" fmla="*/ 533400 h 809626"/>
                  <a:gd name="connsiteX2" fmla="*/ 1085848 w 1447798"/>
                  <a:gd name="connsiteY2" fmla="*/ 533400 h 809626"/>
                  <a:gd name="connsiteX3" fmla="*/ 1085848 w 1447798"/>
                  <a:gd name="connsiteY3" fmla="*/ 276224 h 809626"/>
                  <a:gd name="connsiteX4" fmla="*/ 1366836 w 1447798"/>
                  <a:gd name="connsiteY4" fmla="*/ 276224 h 809626"/>
                  <a:gd name="connsiteX5" fmla="*/ 1447798 w 1447798"/>
                  <a:gd name="connsiteY5" fmla="*/ 195262 h 809626"/>
                  <a:gd name="connsiteX6" fmla="*/ 1366836 w 1447798"/>
                  <a:gd name="connsiteY6" fmla="*/ 114300 h 809626"/>
                  <a:gd name="connsiteX7" fmla="*/ 1085848 w 1447798"/>
                  <a:gd name="connsiteY7" fmla="*/ 114300 h 809626"/>
                  <a:gd name="connsiteX8" fmla="*/ 1085848 w 1447798"/>
                  <a:gd name="connsiteY8" fmla="*/ 0 h 809626"/>
                  <a:gd name="connsiteX9" fmla="*/ 681035 w 1447798"/>
                  <a:gd name="connsiteY9" fmla="*/ 0 h 809626"/>
                  <a:gd name="connsiteX10" fmla="*/ 308034 w 1447798"/>
                  <a:gd name="connsiteY10" fmla="*/ 247241 h 809626"/>
                  <a:gd name="connsiteX11" fmla="*/ 297558 w 1447798"/>
                  <a:gd name="connsiteY11" fmla="*/ 280988 h 809626"/>
                  <a:gd name="connsiteX12" fmla="*/ 123825 w 1447798"/>
                  <a:gd name="connsiteY12" fmla="*/ 280988 h 809626"/>
                  <a:gd name="connsiteX13" fmla="*/ 9730 w 1447798"/>
                  <a:gd name="connsiteY13" fmla="*/ 356615 h 809626"/>
                  <a:gd name="connsiteX14" fmla="*/ 0 w 1447798"/>
                  <a:gd name="connsiteY14" fmla="*/ 404813 h 809626"/>
                  <a:gd name="connsiteX15" fmla="*/ 9730 w 1447798"/>
                  <a:gd name="connsiteY15" fmla="*/ 453011 h 809626"/>
                  <a:gd name="connsiteX16" fmla="*/ 123825 w 1447798"/>
                  <a:gd name="connsiteY16" fmla="*/ 528637 h 809626"/>
                  <a:gd name="connsiteX17" fmla="*/ 297559 w 1447798"/>
                  <a:gd name="connsiteY17" fmla="*/ 528638 h 809626"/>
                  <a:gd name="connsiteX18" fmla="*/ 308034 w 1447798"/>
                  <a:gd name="connsiteY18" fmla="*/ 562385 h 809626"/>
                  <a:gd name="connsiteX19" fmla="*/ 681035 w 1447798"/>
                  <a:gd name="connsiteY19" fmla="*/ 809626 h 809626"/>
                  <a:gd name="connsiteX20" fmla="*/ 1085848 w 1447798"/>
                  <a:gd name="connsiteY20" fmla="*/ 809625 h 809626"/>
                  <a:gd name="connsiteX21" fmla="*/ 1085848 w 1447798"/>
                  <a:gd name="connsiteY21" fmla="*/ 695324 h 809626"/>
                  <a:gd name="connsiteX22" fmla="*/ 1366836 w 1447798"/>
                  <a:gd name="connsiteY22" fmla="*/ 695324 h 809626"/>
                  <a:gd name="connsiteX23" fmla="*/ 1447798 w 1447798"/>
                  <a:gd name="connsiteY23" fmla="*/ 614362 h 8096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447798" h="809626">
                    <a:moveTo>
                      <a:pt x="1447798" y="614362"/>
                    </a:moveTo>
                    <a:cubicBezTo>
                      <a:pt x="1447798" y="569648"/>
                      <a:pt x="1411550" y="533400"/>
                      <a:pt x="1366836" y="533400"/>
                    </a:cubicBezTo>
                    <a:lnTo>
                      <a:pt x="1085848" y="533400"/>
                    </a:lnTo>
                    <a:lnTo>
                      <a:pt x="1085848" y="276224"/>
                    </a:lnTo>
                    <a:lnTo>
                      <a:pt x="1366836" y="276224"/>
                    </a:lnTo>
                    <a:cubicBezTo>
                      <a:pt x="1411550" y="276224"/>
                      <a:pt x="1447798" y="239976"/>
                      <a:pt x="1447798" y="195262"/>
                    </a:cubicBezTo>
                    <a:cubicBezTo>
                      <a:pt x="1447798" y="150548"/>
                      <a:pt x="1411550" y="114300"/>
                      <a:pt x="1366836" y="114300"/>
                    </a:cubicBezTo>
                    <a:lnTo>
                      <a:pt x="1085848" y="114300"/>
                    </a:lnTo>
                    <a:lnTo>
                      <a:pt x="1085848" y="0"/>
                    </a:lnTo>
                    <a:lnTo>
                      <a:pt x="681035" y="0"/>
                    </a:lnTo>
                    <a:cubicBezTo>
                      <a:pt x="513356" y="0"/>
                      <a:pt x="369488" y="101948"/>
                      <a:pt x="308034" y="247241"/>
                    </a:cubicBezTo>
                    <a:lnTo>
                      <a:pt x="297558" y="280988"/>
                    </a:lnTo>
                    <a:lnTo>
                      <a:pt x="123825" y="280988"/>
                    </a:lnTo>
                    <a:cubicBezTo>
                      <a:pt x="72534" y="280988"/>
                      <a:pt x="28528" y="312172"/>
                      <a:pt x="9730" y="356615"/>
                    </a:cubicBezTo>
                    <a:lnTo>
                      <a:pt x="0" y="404813"/>
                    </a:lnTo>
                    <a:lnTo>
                      <a:pt x="9730" y="453011"/>
                    </a:lnTo>
                    <a:cubicBezTo>
                      <a:pt x="28528" y="497453"/>
                      <a:pt x="72534" y="528637"/>
                      <a:pt x="123825" y="528637"/>
                    </a:cubicBezTo>
                    <a:lnTo>
                      <a:pt x="297559" y="528638"/>
                    </a:lnTo>
                    <a:lnTo>
                      <a:pt x="308034" y="562385"/>
                    </a:lnTo>
                    <a:cubicBezTo>
                      <a:pt x="369488" y="707678"/>
                      <a:pt x="513356" y="809626"/>
                      <a:pt x="681035" y="809626"/>
                    </a:cubicBezTo>
                    <a:lnTo>
                      <a:pt x="1085848" y="809625"/>
                    </a:lnTo>
                    <a:lnTo>
                      <a:pt x="1085848" y="695324"/>
                    </a:lnTo>
                    <a:lnTo>
                      <a:pt x="1366836" y="695324"/>
                    </a:lnTo>
                    <a:cubicBezTo>
                      <a:pt x="1411550" y="695324"/>
                      <a:pt x="1447798" y="659076"/>
                      <a:pt x="1447798" y="61436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lIns="72000" tIns="72000" rIns="72000" bIns="72000" rtlCol="0" anchor="t" anchorCtr="0">
                <a:no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90000"/>
                  </a:lnSpc>
                  <a:spcBef>
                    <a:spcPts val="4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cxnSp>
            <p:nvCxnSpPr>
              <p:cNvPr id="14" name="VerticalLine15">
                <a:extLst>
                  <a:ext uri="{FF2B5EF4-FFF2-40B4-BE49-F238E27FC236}">
                    <a16:creationId xmlns:a16="http://schemas.microsoft.com/office/drawing/2014/main" id="{67D64E5E-D7ED-48FD-A657-D0838724DFC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887200" y="630236"/>
                <a:ext cx="0" cy="6227764"/>
              </a:xfrm>
              <a:prstGeom prst="line">
                <a:avLst/>
              </a:prstGeom>
              <a:ln w="22225" cmpd="sng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11916679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2DD7223-34EC-4C88-941A-D116F48F51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2DD7223-34EC-4C88-941A-D116F48F51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C228252-8025-4D00-9344-B6B0A8733B9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2" name="Slide Number Placeholder" hidden="1"/>
          <p:cNvSpPr>
            <a:spLocks noGrp="1"/>
          </p:cNvSpPr>
          <p:nvPr>
            <p:ph type="sldNum" sz="quarter" idx="11"/>
            <p:custDataLst>
              <p:tags r:id="rId3"/>
            </p:custDataLst>
          </p:nvPr>
        </p:nvSpPr>
        <p:spPr>
          <a:xfrm>
            <a:off x="12271633" y="178643"/>
            <a:ext cx="24046" cy="3077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200" b="0">
                <a:solidFill>
                  <a:schemeClr val="bg1">
                    <a:lumMod val="75000"/>
                  </a:schemeClr>
                </a:solidFill>
                <a:latin typeface="+mn-lt"/>
                <a:cs typeface="+mn-cs"/>
                <a:sym typeface="+mn-lt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1940DDA-0656-452C-A408-68789653BD9B}" type="slidenum">
              <a:rPr kumimoji="0" lang="en-US" sz="2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10"/>
            <p:custDataLst>
              <p:tags r:id="rId4"/>
            </p:custDataLst>
          </p:nvPr>
        </p:nvSpPr>
        <p:spPr>
          <a:xfrm>
            <a:off x="12271634" y="228649"/>
            <a:ext cx="65" cy="30778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00" b="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738000" y="1710000"/>
            <a:ext cx="10792808" cy="1394228"/>
          </a:xfrm>
        </p:spPr>
        <p:txBody>
          <a:bodyPr/>
          <a:lstStyle>
            <a:lvl1pPr>
              <a:defRPr>
                <a:latin typeface="+mn-lt"/>
                <a:sym typeface="+mn-lt"/>
              </a:defRPr>
            </a:lvl1pPr>
            <a:lvl2pPr>
              <a:defRPr>
                <a:latin typeface="+mn-lt"/>
                <a:sym typeface="+mn-lt"/>
              </a:defRPr>
            </a:lvl2pPr>
            <a:lvl3pPr>
              <a:defRPr>
                <a:latin typeface="+mn-lt"/>
                <a:sym typeface="+mn-lt"/>
              </a:defRPr>
            </a:lvl3pPr>
            <a:lvl4pPr>
              <a:defRPr>
                <a:latin typeface="+mn-lt"/>
                <a:sym typeface="+mn-lt"/>
              </a:defRPr>
            </a:lvl4pPr>
          </a:lstStyle>
          <a:p>
            <a:pPr lvl="0"/>
            <a:r>
              <a:rPr lang="en-US" dirty="0"/>
              <a:t>Click to edit Master text styles – Level 0</a:t>
            </a:r>
          </a:p>
          <a:p>
            <a:pPr lvl="1"/>
            <a:r>
              <a:rPr lang="en-US" dirty="0"/>
              <a:t>Level 1</a:t>
            </a:r>
          </a:p>
          <a:p>
            <a:pPr lvl="2"/>
            <a:r>
              <a:rPr lang="en-US" dirty="0"/>
              <a:t>Level 2</a:t>
            </a:r>
          </a:p>
          <a:p>
            <a:pPr lvl="3"/>
            <a:r>
              <a:rPr lang="en-US" dirty="0"/>
              <a:t>Level 3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8000" y="666000"/>
            <a:ext cx="10792808" cy="860400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CAAE45A0-4C4B-4E14-868F-EC15B7A9AD93}"/>
              </a:ext>
            </a:extLst>
          </p:cNvPr>
          <p:cNvGrpSpPr/>
          <p:nvPr userDrawn="1"/>
        </p:nvGrpSpPr>
        <p:grpSpPr>
          <a:xfrm>
            <a:off x="11696700" y="0"/>
            <a:ext cx="493713" cy="6858000"/>
            <a:chOff x="11696700" y="0"/>
            <a:chExt cx="493713" cy="6858000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F8FD8870-61EF-4543-B80B-E59602EB731C}"/>
                </a:ext>
              </a:extLst>
            </p:cNvPr>
            <p:cNvSpPr/>
            <p:nvPr/>
          </p:nvSpPr>
          <p:spPr>
            <a:xfrm>
              <a:off x="11876088" y="0"/>
              <a:ext cx="314325" cy="6858000"/>
            </a:xfrm>
            <a:prstGeom prst="rect">
              <a:avLst/>
            </a:prstGeom>
            <a:solidFill>
              <a:srgbClr val="007FBD"/>
            </a:solidFill>
            <a:ln w="9525">
              <a:noFill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2000" tIns="72000" rIns="72000" bIns="72000" rtlCol="0" anchor="t" anchorCtr="0">
              <a:no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ts val="4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5E3726E5-8B5E-45BB-A8E0-397AAD8F6BAA}"/>
                </a:ext>
              </a:extLst>
            </p:cNvPr>
            <p:cNvSpPr/>
            <p:nvPr/>
          </p:nvSpPr>
          <p:spPr>
            <a:xfrm>
              <a:off x="11696700" y="0"/>
              <a:ext cx="188913" cy="6858000"/>
            </a:xfrm>
            <a:prstGeom prst="rect">
              <a:avLst/>
            </a:prstGeom>
            <a:solidFill>
              <a:srgbClr val="5EC1EE"/>
            </a:solidFill>
            <a:ln w="9525">
              <a:noFill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2000" tIns="72000" rIns="72000" bIns="72000" rtlCol="0" anchor="t" anchorCtr="0">
              <a:no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ts val="4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CCAD79F1-488D-484A-A332-4FAF71D67514}"/>
                </a:ext>
              </a:extLst>
            </p:cNvPr>
            <p:cNvGrpSpPr/>
            <p:nvPr/>
          </p:nvGrpSpPr>
          <p:grpSpPr>
            <a:xfrm>
              <a:off x="11810999" y="343796"/>
              <a:ext cx="171451" cy="6514204"/>
              <a:chOff x="11801474" y="343796"/>
              <a:chExt cx="171451" cy="6514204"/>
            </a:xfrm>
          </p:grpSpPr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DFC27C56-360B-42EF-BB67-6070227F7242}"/>
                  </a:ext>
                </a:extLst>
              </p:cNvPr>
              <p:cNvSpPr/>
              <p:nvPr/>
            </p:nvSpPr>
            <p:spPr>
              <a:xfrm rot="5400000" flipH="1">
                <a:off x="11733903" y="411367"/>
                <a:ext cx="306594" cy="171451"/>
              </a:xfrm>
              <a:custGeom>
                <a:avLst/>
                <a:gdLst>
                  <a:gd name="connsiteX0" fmla="*/ 1447798 w 1447798"/>
                  <a:gd name="connsiteY0" fmla="*/ 614362 h 809626"/>
                  <a:gd name="connsiteX1" fmla="*/ 1366836 w 1447798"/>
                  <a:gd name="connsiteY1" fmla="*/ 533400 h 809626"/>
                  <a:gd name="connsiteX2" fmla="*/ 1085848 w 1447798"/>
                  <a:gd name="connsiteY2" fmla="*/ 533400 h 809626"/>
                  <a:gd name="connsiteX3" fmla="*/ 1085848 w 1447798"/>
                  <a:gd name="connsiteY3" fmla="*/ 276224 h 809626"/>
                  <a:gd name="connsiteX4" fmla="*/ 1366836 w 1447798"/>
                  <a:gd name="connsiteY4" fmla="*/ 276224 h 809626"/>
                  <a:gd name="connsiteX5" fmla="*/ 1447798 w 1447798"/>
                  <a:gd name="connsiteY5" fmla="*/ 195262 h 809626"/>
                  <a:gd name="connsiteX6" fmla="*/ 1366836 w 1447798"/>
                  <a:gd name="connsiteY6" fmla="*/ 114300 h 809626"/>
                  <a:gd name="connsiteX7" fmla="*/ 1085848 w 1447798"/>
                  <a:gd name="connsiteY7" fmla="*/ 114300 h 809626"/>
                  <a:gd name="connsiteX8" fmla="*/ 1085848 w 1447798"/>
                  <a:gd name="connsiteY8" fmla="*/ 0 h 809626"/>
                  <a:gd name="connsiteX9" fmla="*/ 681035 w 1447798"/>
                  <a:gd name="connsiteY9" fmla="*/ 0 h 809626"/>
                  <a:gd name="connsiteX10" fmla="*/ 308034 w 1447798"/>
                  <a:gd name="connsiteY10" fmla="*/ 247241 h 809626"/>
                  <a:gd name="connsiteX11" fmla="*/ 297558 w 1447798"/>
                  <a:gd name="connsiteY11" fmla="*/ 280988 h 809626"/>
                  <a:gd name="connsiteX12" fmla="*/ 123825 w 1447798"/>
                  <a:gd name="connsiteY12" fmla="*/ 280988 h 809626"/>
                  <a:gd name="connsiteX13" fmla="*/ 9730 w 1447798"/>
                  <a:gd name="connsiteY13" fmla="*/ 356615 h 809626"/>
                  <a:gd name="connsiteX14" fmla="*/ 0 w 1447798"/>
                  <a:gd name="connsiteY14" fmla="*/ 404813 h 809626"/>
                  <a:gd name="connsiteX15" fmla="*/ 9730 w 1447798"/>
                  <a:gd name="connsiteY15" fmla="*/ 453011 h 809626"/>
                  <a:gd name="connsiteX16" fmla="*/ 123825 w 1447798"/>
                  <a:gd name="connsiteY16" fmla="*/ 528637 h 809626"/>
                  <a:gd name="connsiteX17" fmla="*/ 297559 w 1447798"/>
                  <a:gd name="connsiteY17" fmla="*/ 528638 h 809626"/>
                  <a:gd name="connsiteX18" fmla="*/ 308034 w 1447798"/>
                  <a:gd name="connsiteY18" fmla="*/ 562385 h 809626"/>
                  <a:gd name="connsiteX19" fmla="*/ 681035 w 1447798"/>
                  <a:gd name="connsiteY19" fmla="*/ 809626 h 809626"/>
                  <a:gd name="connsiteX20" fmla="*/ 1085848 w 1447798"/>
                  <a:gd name="connsiteY20" fmla="*/ 809625 h 809626"/>
                  <a:gd name="connsiteX21" fmla="*/ 1085848 w 1447798"/>
                  <a:gd name="connsiteY21" fmla="*/ 695324 h 809626"/>
                  <a:gd name="connsiteX22" fmla="*/ 1366836 w 1447798"/>
                  <a:gd name="connsiteY22" fmla="*/ 695324 h 809626"/>
                  <a:gd name="connsiteX23" fmla="*/ 1447798 w 1447798"/>
                  <a:gd name="connsiteY23" fmla="*/ 614362 h 8096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447798" h="809626">
                    <a:moveTo>
                      <a:pt x="1447798" y="614362"/>
                    </a:moveTo>
                    <a:cubicBezTo>
                      <a:pt x="1447798" y="569648"/>
                      <a:pt x="1411550" y="533400"/>
                      <a:pt x="1366836" y="533400"/>
                    </a:cubicBezTo>
                    <a:lnTo>
                      <a:pt x="1085848" y="533400"/>
                    </a:lnTo>
                    <a:lnTo>
                      <a:pt x="1085848" y="276224"/>
                    </a:lnTo>
                    <a:lnTo>
                      <a:pt x="1366836" y="276224"/>
                    </a:lnTo>
                    <a:cubicBezTo>
                      <a:pt x="1411550" y="276224"/>
                      <a:pt x="1447798" y="239976"/>
                      <a:pt x="1447798" y="195262"/>
                    </a:cubicBezTo>
                    <a:cubicBezTo>
                      <a:pt x="1447798" y="150548"/>
                      <a:pt x="1411550" y="114300"/>
                      <a:pt x="1366836" y="114300"/>
                    </a:cubicBezTo>
                    <a:lnTo>
                      <a:pt x="1085848" y="114300"/>
                    </a:lnTo>
                    <a:lnTo>
                      <a:pt x="1085848" y="0"/>
                    </a:lnTo>
                    <a:lnTo>
                      <a:pt x="681035" y="0"/>
                    </a:lnTo>
                    <a:cubicBezTo>
                      <a:pt x="513356" y="0"/>
                      <a:pt x="369488" y="101948"/>
                      <a:pt x="308034" y="247241"/>
                    </a:cubicBezTo>
                    <a:lnTo>
                      <a:pt x="297558" y="280988"/>
                    </a:lnTo>
                    <a:lnTo>
                      <a:pt x="123825" y="280988"/>
                    </a:lnTo>
                    <a:cubicBezTo>
                      <a:pt x="72534" y="280988"/>
                      <a:pt x="28528" y="312172"/>
                      <a:pt x="9730" y="356615"/>
                    </a:cubicBezTo>
                    <a:lnTo>
                      <a:pt x="0" y="404813"/>
                    </a:lnTo>
                    <a:lnTo>
                      <a:pt x="9730" y="453011"/>
                    </a:lnTo>
                    <a:cubicBezTo>
                      <a:pt x="28528" y="497453"/>
                      <a:pt x="72534" y="528637"/>
                      <a:pt x="123825" y="528637"/>
                    </a:cubicBezTo>
                    <a:lnTo>
                      <a:pt x="297559" y="528638"/>
                    </a:lnTo>
                    <a:lnTo>
                      <a:pt x="308034" y="562385"/>
                    </a:lnTo>
                    <a:cubicBezTo>
                      <a:pt x="369488" y="707678"/>
                      <a:pt x="513356" y="809626"/>
                      <a:pt x="681035" y="809626"/>
                    </a:cubicBezTo>
                    <a:lnTo>
                      <a:pt x="1085848" y="809625"/>
                    </a:lnTo>
                    <a:lnTo>
                      <a:pt x="1085848" y="695324"/>
                    </a:lnTo>
                    <a:lnTo>
                      <a:pt x="1366836" y="695324"/>
                    </a:lnTo>
                    <a:cubicBezTo>
                      <a:pt x="1411550" y="695324"/>
                      <a:pt x="1447798" y="659076"/>
                      <a:pt x="1447798" y="61436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lIns="72000" tIns="72000" rIns="72000" bIns="72000" rtlCol="0" anchor="t" anchorCtr="0">
                <a:no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90000"/>
                  </a:lnSpc>
                  <a:spcBef>
                    <a:spcPts val="4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cxnSp>
            <p:nvCxnSpPr>
              <p:cNvPr id="18" name="VerticalLine15">
                <a:extLst>
                  <a:ext uri="{FF2B5EF4-FFF2-40B4-BE49-F238E27FC236}">
                    <a16:creationId xmlns:a16="http://schemas.microsoft.com/office/drawing/2014/main" id="{BD6C4D2F-ACFC-4CB1-9DD9-966C0AC9FE0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887200" y="630236"/>
                <a:ext cx="0" cy="6227764"/>
              </a:xfrm>
              <a:prstGeom prst="line">
                <a:avLst/>
              </a:prstGeom>
              <a:ln w="22225" cmpd="sng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75943592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6FF441E-CF3E-44DE-A6D8-41B3243FAB3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7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2" name="Slide Number Placeholder" hidden="1"/>
          <p:cNvSpPr>
            <a:spLocks noGrp="1"/>
          </p:cNvSpPr>
          <p:nvPr>
            <p:ph type="sldNum" sz="quarter" idx="11"/>
          </p:nvPr>
        </p:nvSpPr>
        <p:spPr>
          <a:xfrm>
            <a:off x="12271633" y="178643"/>
            <a:ext cx="24046" cy="3077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200" b="0">
                <a:solidFill>
                  <a:schemeClr val="bg1">
                    <a:lumMod val="75000"/>
                  </a:schemeClr>
                </a:solidFill>
                <a:latin typeface="+mn-lt"/>
                <a:cs typeface="+mn-cs"/>
                <a:sym typeface="+mn-lt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1940DDA-0656-452C-A408-68789653BD9B}" type="slidenum">
              <a:rPr kumimoji="0" lang="en-US" sz="2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10"/>
          </p:nvPr>
        </p:nvSpPr>
        <p:spPr>
          <a:xfrm>
            <a:off x="12271634" y="228649"/>
            <a:ext cx="65" cy="30778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00" b="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14" name="Title"/>
          <p:cNvSpPr>
            <a:spLocks noGrp="1"/>
          </p:cNvSpPr>
          <p:nvPr>
            <p:ph type="title" hasCustomPrompt="1"/>
          </p:nvPr>
        </p:nvSpPr>
        <p:spPr>
          <a:xfrm>
            <a:off x="3581399" y="2370964"/>
            <a:ext cx="4619625" cy="373949"/>
          </a:xfrm>
        </p:spPr>
        <p:txBody>
          <a:bodyPr wrap="square" lIns="360000" tIns="0" rIns="0" bIns="0" anchor="b" anchorCtr="0">
            <a:spAutoFit/>
          </a:bodyPr>
          <a:lstStyle>
            <a:lvl1pPr marL="528638" indent="-528638" algn="l">
              <a:tabLst>
                <a:tab pos="530352" algn="l"/>
                <a:tab pos="813816" algn="l"/>
              </a:tabLst>
              <a:defRPr b="1">
                <a:latin typeface="+mj-lt"/>
                <a:sym typeface="+mn-lt"/>
              </a:defRPr>
            </a:lvl1pPr>
          </a:lstStyle>
          <a:p>
            <a:r>
              <a:rPr lang="en-US" dirty="0"/>
              <a:t>A.   Click to edit text</a:t>
            </a:r>
            <a:endParaRPr lang="de-DE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9CDB5F3-1C79-4BD5-8F1C-E9A1A03C434F}"/>
              </a:ext>
            </a:extLst>
          </p:cNvPr>
          <p:cNvSpPr/>
          <p:nvPr userDrawn="1"/>
        </p:nvSpPr>
        <p:spPr>
          <a:xfrm>
            <a:off x="3171825" y="1143000"/>
            <a:ext cx="314325" cy="4038600"/>
          </a:xfrm>
          <a:prstGeom prst="rect">
            <a:avLst/>
          </a:prstGeom>
          <a:solidFill>
            <a:srgbClr val="007FBD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t" anchorCtr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1EEDC4D7-3E20-4BC0-BA13-6E6FAF9007FA}"/>
              </a:ext>
            </a:extLst>
          </p:cNvPr>
          <p:cNvGrpSpPr/>
          <p:nvPr userDrawn="1"/>
        </p:nvGrpSpPr>
        <p:grpSpPr>
          <a:xfrm>
            <a:off x="11696700" y="0"/>
            <a:ext cx="493713" cy="6858000"/>
            <a:chOff x="11696700" y="0"/>
            <a:chExt cx="493713" cy="6858000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2839F267-D8FE-4CDC-B6E6-964BDF2D47B1}"/>
                </a:ext>
              </a:extLst>
            </p:cNvPr>
            <p:cNvSpPr/>
            <p:nvPr/>
          </p:nvSpPr>
          <p:spPr>
            <a:xfrm>
              <a:off x="11876088" y="0"/>
              <a:ext cx="314325" cy="6858000"/>
            </a:xfrm>
            <a:prstGeom prst="rect">
              <a:avLst/>
            </a:prstGeom>
            <a:solidFill>
              <a:srgbClr val="007FBD"/>
            </a:solidFill>
            <a:ln w="9525">
              <a:noFill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2000" tIns="72000" rIns="72000" bIns="72000" rtlCol="0" anchor="t" anchorCtr="0">
              <a:no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ts val="4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AE5F9B6B-8C97-4AEA-88D6-BD483CAD2365}"/>
                </a:ext>
              </a:extLst>
            </p:cNvPr>
            <p:cNvSpPr/>
            <p:nvPr/>
          </p:nvSpPr>
          <p:spPr>
            <a:xfrm>
              <a:off x="11696700" y="0"/>
              <a:ext cx="188913" cy="6858000"/>
            </a:xfrm>
            <a:prstGeom prst="rect">
              <a:avLst/>
            </a:prstGeom>
            <a:solidFill>
              <a:srgbClr val="5EC1EE"/>
            </a:solidFill>
            <a:ln w="9525">
              <a:noFill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2000" tIns="72000" rIns="72000" bIns="72000" rtlCol="0" anchor="t" anchorCtr="0">
              <a:no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ts val="4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D4B5DD17-E8C1-4257-BE6B-0A3ED371A273}"/>
                </a:ext>
              </a:extLst>
            </p:cNvPr>
            <p:cNvGrpSpPr/>
            <p:nvPr/>
          </p:nvGrpSpPr>
          <p:grpSpPr>
            <a:xfrm>
              <a:off x="11810999" y="343796"/>
              <a:ext cx="171451" cy="6514204"/>
              <a:chOff x="11801474" y="343796"/>
              <a:chExt cx="171451" cy="6514204"/>
            </a:xfrm>
          </p:grpSpPr>
          <p:sp>
            <p:nvSpPr>
              <p:cNvPr id="19" name="Freeform: Shape 18">
                <a:extLst>
                  <a:ext uri="{FF2B5EF4-FFF2-40B4-BE49-F238E27FC236}">
                    <a16:creationId xmlns:a16="http://schemas.microsoft.com/office/drawing/2014/main" id="{D1CCA80F-7E77-44A8-9244-A54996C92EBC}"/>
                  </a:ext>
                </a:extLst>
              </p:cNvPr>
              <p:cNvSpPr/>
              <p:nvPr/>
            </p:nvSpPr>
            <p:spPr>
              <a:xfrm rot="5400000" flipH="1">
                <a:off x="11733903" y="411367"/>
                <a:ext cx="306594" cy="171451"/>
              </a:xfrm>
              <a:custGeom>
                <a:avLst/>
                <a:gdLst>
                  <a:gd name="connsiteX0" fmla="*/ 1447798 w 1447798"/>
                  <a:gd name="connsiteY0" fmla="*/ 614362 h 809626"/>
                  <a:gd name="connsiteX1" fmla="*/ 1366836 w 1447798"/>
                  <a:gd name="connsiteY1" fmla="*/ 533400 h 809626"/>
                  <a:gd name="connsiteX2" fmla="*/ 1085848 w 1447798"/>
                  <a:gd name="connsiteY2" fmla="*/ 533400 h 809626"/>
                  <a:gd name="connsiteX3" fmla="*/ 1085848 w 1447798"/>
                  <a:gd name="connsiteY3" fmla="*/ 276224 h 809626"/>
                  <a:gd name="connsiteX4" fmla="*/ 1366836 w 1447798"/>
                  <a:gd name="connsiteY4" fmla="*/ 276224 h 809626"/>
                  <a:gd name="connsiteX5" fmla="*/ 1447798 w 1447798"/>
                  <a:gd name="connsiteY5" fmla="*/ 195262 h 809626"/>
                  <a:gd name="connsiteX6" fmla="*/ 1366836 w 1447798"/>
                  <a:gd name="connsiteY6" fmla="*/ 114300 h 809626"/>
                  <a:gd name="connsiteX7" fmla="*/ 1085848 w 1447798"/>
                  <a:gd name="connsiteY7" fmla="*/ 114300 h 809626"/>
                  <a:gd name="connsiteX8" fmla="*/ 1085848 w 1447798"/>
                  <a:gd name="connsiteY8" fmla="*/ 0 h 809626"/>
                  <a:gd name="connsiteX9" fmla="*/ 681035 w 1447798"/>
                  <a:gd name="connsiteY9" fmla="*/ 0 h 809626"/>
                  <a:gd name="connsiteX10" fmla="*/ 308034 w 1447798"/>
                  <a:gd name="connsiteY10" fmla="*/ 247241 h 809626"/>
                  <a:gd name="connsiteX11" fmla="*/ 297558 w 1447798"/>
                  <a:gd name="connsiteY11" fmla="*/ 280988 h 809626"/>
                  <a:gd name="connsiteX12" fmla="*/ 123825 w 1447798"/>
                  <a:gd name="connsiteY12" fmla="*/ 280988 h 809626"/>
                  <a:gd name="connsiteX13" fmla="*/ 9730 w 1447798"/>
                  <a:gd name="connsiteY13" fmla="*/ 356615 h 809626"/>
                  <a:gd name="connsiteX14" fmla="*/ 0 w 1447798"/>
                  <a:gd name="connsiteY14" fmla="*/ 404813 h 809626"/>
                  <a:gd name="connsiteX15" fmla="*/ 9730 w 1447798"/>
                  <a:gd name="connsiteY15" fmla="*/ 453011 h 809626"/>
                  <a:gd name="connsiteX16" fmla="*/ 123825 w 1447798"/>
                  <a:gd name="connsiteY16" fmla="*/ 528637 h 809626"/>
                  <a:gd name="connsiteX17" fmla="*/ 297559 w 1447798"/>
                  <a:gd name="connsiteY17" fmla="*/ 528638 h 809626"/>
                  <a:gd name="connsiteX18" fmla="*/ 308034 w 1447798"/>
                  <a:gd name="connsiteY18" fmla="*/ 562385 h 809626"/>
                  <a:gd name="connsiteX19" fmla="*/ 681035 w 1447798"/>
                  <a:gd name="connsiteY19" fmla="*/ 809626 h 809626"/>
                  <a:gd name="connsiteX20" fmla="*/ 1085848 w 1447798"/>
                  <a:gd name="connsiteY20" fmla="*/ 809625 h 809626"/>
                  <a:gd name="connsiteX21" fmla="*/ 1085848 w 1447798"/>
                  <a:gd name="connsiteY21" fmla="*/ 695324 h 809626"/>
                  <a:gd name="connsiteX22" fmla="*/ 1366836 w 1447798"/>
                  <a:gd name="connsiteY22" fmla="*/ 695324 h 809626"/>
                  <a:gd name="connsiteX23" fmla="*/ 1447798 w 1447798"/>
                  <a:gd name="connsiteY23" fmla="*/ 614362 h 8096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447798" h="809626">
                    <a:moveTo>
                      <a:pt x="1447798" y="614362"/>
                    </a:moveTo>
                    <a:cubicBezTo>
                      <a:pt x="1447798" y="569648"/>
                      <a:pt x="1411550" y="533400"/>
                      <a:pt x="1366836" y="533400"/>
                    </a:cubicBezTo>
                    <a:lnTo>
                      <a:pt x="1085848" y="533400"/>
                    </a:lnTo>
                    <a:lnTo>
                      <a:pt x="1085848" y="276224"/>
                    </a:lnTo>
                    <a:lnTo>
                      <a:pt x="1366836" y="276224"/>
                    </a:lnTo>
                    <a:cubicBezTo>
                      <a:pt x="1411550" y="276224"/>
                      <a:pt x="1447798" y="239976"/>
                      <a:pt x="1447798" y="195262"/>
                    </a:cubicBezTo>
                    <a:cubicBezTo>
                      <a:pt x="1447798" y="150548"/>
                      <a:pt x="1411550" y="114300"/>
                      <a:pt x="1366836" y="114300"/>
                    </a:cubicBezTo>
                    <a:lnTo>
                      <a:pt x="1085848" y="114300"/>
                    </a:lnTo>
                    <a:lnTo>
                      <a:pt x="1085848" y="0"/>
                    </a:lnTo>
                    <a:lnTo>
                      <a:pt x="681035" y="0"/>
                    </a:lnTo>
                    <a:cubicBezTo>
                      <a:pt x="513356" y="0"/>
                      <a:pt x="369488" y="101948"/>
                      <a:pt x="308034" y="247241"/>
                    </a:cubicBezTo>
                    <a:lnTo>
                      <a:pt x="297558" y="280988"/>
                    </a:lnTo>
                    <a:lnTo>
                      <a:pt x="123825" y="280988"/>
                    </a:lnTo>
                    <a:cubicBezTo>
                      <a:pt x="72534" y="280988"/>
                      <a:pt x="28528" y="312172"/>
                      <a:pt x="9730" y="356615"/>
                    </a:cubicBezTo>
                    <a:lnTo>
                      <a:pt x="0" y="404813"/>
                    </a:lnTo>
                    <a:lnTo>
                      <a:pt x="9730" y="453011"/>
                    </a:lnTo>
                    <a:cubicBezTo>
                      <a:pt x="28528" y="497453"/>
                      <a:pt x="72534" y="528637"/>
                      <a:pt x="123825" y="528637"/>
                    </a:cubicBezTo>
                    <a:lnTo>
                      <a:pt x="297559" y="528638"/>
                    </a:lnTo>
                    <a:lnTo>
                      <a:pt x="308034" y="562385"/>
                    </a:lnTo>
                    <a:cubicBezTo>
                      <a:pt x="369488" y="707678"/>
                      <a:pt x="513356" y="809626"/>
                      <a:pt x="681035" y="809626"/>
                    </a:cubicBezTo>
                    <a:lnTo>
                      <a:pt x="1085848" y="809625"/>
                    </a:lnTo>
                    <a:lnTo>
                      <a:pt x="1085848" y="695324"/>
                    </a:lnTo>
                    <a:lnTo>
                      <a:pt x="1366836" y="695324"/>
                    </a:lnTo>
                    <a:cubicBezTo>
                      <a:pt x="1411550" y="695324"/>
                      <a:pt x="1447798" y="659076"/>
                      <a:pt x="1447798" y="61436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lIns="72000" tIns="72000" rIns="72000" bIns="72000" rtlCol="0" anchor="t" anchorCtr="0">
                <a:no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90000"/>
                  </a:lnSpc>
                  <a:spcBef>
                    <a:spcPts val="4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cxnSp>
            <p:nvCxnSpPr>
              <p:cNvPr id="20" name="VerticalLine15">
                <a:extLst>
                  <a:ext uri="{FF2B5EF4-FFF2-40B4-BE49-F238E27FC236}">
                    <a16:creationId xmlns:a16="http://schemas.microsoft.com/office/drawing/2014/main" id="{208E8C6B-91F8-41FA-8DB1-42F9AE516CA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887200" y="630236"/>
                <a:ext cx="0" cy="6227764"/>
              </a:xfrm>
              <a:prstGeom prst="line">
                <a:avLst/>
              </a:prstGeom>
              <a:ln w="22225" cmpd="sng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21" name="Picture 2" descr="Image result for logo electrica">
            <a:extLst>
              <a:ext uri="{FF2B5EF4-FFF2-40B4-BE49-F238E27FC236}">
                <a16:creationId xmlns:a16="http://schemas.microsoft.com/office/drawing/2014/main" id="{6525B729-34F8-4D97-992B-8A11D38B706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45735" y="6373155"/>
            <a:ext cx="1065223" cy="3745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088689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36A4C0F-CD47-4E9B-A63A-119DE350A92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7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4" name="Slide Number Placeholder" hidden="1"/>
          <p:cNvSpPr>
            <a:spLocks noGrp="1"/>
          </p:cNvSpPr>
          <p:nvPr>
            <p:ph type="sldNum" sz="quarter" idx="11"/>
            <p:custDataLst>
              <p:tags r:id="rId3"/>
            </p:custDataLst>
          </p:nvPr>
        </p:nvSpPr>
        <p:spPr>
          <a:xfrm>
            <a:off x="12271633" y="178643"/>
            <a:ext cx="24046" cy="3077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200" b="0">
                <a:solidFill>
                  <a:schemeClr val="bg1">
                    <a:lumMod val="75000"/>
                  </a:schemeClr>
                </a:solidFill>
                <a:latin typeface="+mn-lt"/>
                <a:cs typeface="+mn-cs"/>
                <a:sym typeface="+mn-lt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1940DDA-0656-452C-A408-68789653BD9B}" type="slidenum">
              <a:rPr kumimoji="0" lang="en-US" sz="2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15" name="Footer Placeholder" hidden="1"/>
          <p:cNvSpPr>
            <a:spLocks noGrp="1"/>
          </p:cNvSpPr>
          <p:nvPr>
            <p:ph type="ftr" sz="quarter" idx="10"/>
            <p:custDataLst>
              <p:tags r:id="rId4"/>
            </p:custDataLst>
          </p:nvPr>
        </p:nvSpPr>
        <p:spPr>
          <a:xfrm>
            <a:off x="12271634" y="228649"/>
            <a:ext cx="65" cy="30778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00" b="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10" name="Type of document"/>
          <p:cNvSpPr>
            <a:spLocks noGrp="1"/>
          </p:cNvSpPr>
          <p:nvPr>
            <p:ph type="body" sz="quarter" idx="18" hasCustomPrompt="1"/>
          </p:nvPr>
        </p:nvSpPr>
        <p:spPr>
          <a:xfrm>
            <a:off x="2333625" y="2748344"/>
            <a:ext cx="4680858" cy="581698"/>
          </a:xfrm>
        </p:spPr>
        <p:txBody>
          <a:bodyPr wrap="square" lIns="360000" tIns="0" rIns="0" anchor="t" anchorCtr="0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700">
                <a:latin typeface="+mn-lt"/>
                <a:sym typeface="+mn-lt"/>
              </a:defRPr>
            </a:lvl1pPr>
            <a:lvl2pPr>
              <a:lnSpc>
                <a:spcPct val="90000"/>
              </a:lnSpc>
              <a:spcBef>
                <a:spcPts val="0"/>
              </a:spcBef>
              <a:defRPr/>
            </a:lvl2pPr>
            <a:lvl3pPr>
              <a:lnSpc>
                <a:spcPct val="90000"/>
              </a:lnSpc>
              <a:spcBef>
                <a:spcPts val="0"/>
              </a:spcBef>
              <a:defRPr/>
            </a:lvl3pPr>
            <a:lvl4pPr>
              <a:lnSpc>
                <a:spcPct val="90000"/>
              </a:lnSpc>
              <a:spcBef>
                <a:spcPts val="0"/>
              </a:spcBef>
              <a:defRPr/>
            </a:lvl4pPr>
            <a:lvl5pPr>
              <a:lnSpc>
                <a:spcPct val="90000"/>
              </a:lnSpc>
              <a:spcBef>
                <a:spcPts val="0"/>
              </a:spcBef>
              <a:defRPr/>
            </a:lvl5pPr>
          </a:lstStyle>
          <a:p>
            <a:pPr lvl="0"/>
            <a:r>
              <a:rPr lang="en-US" dirty="0"/>
              <a:t>Type of document</a:t>
            </a:r>
            <a:br>
              <a:rPr lang="en-US" dirty="0"/>
            </a:br>
            <a:r>
              <a:rPr lang="en-US" dirty="0"/>
              <a:t>(max. two lines)</a:t>
            </a:r>
          </a:p>
        </p:txBody>
      </p:sp>
      <p:sp>
        <p:nvSpPr>
          <p:cNvPr id="4" name="Project name"/>
          <p:cNvSpPr>
            <a:spLocks noGrp="1"/>
          </p:cNvSpPr>
          <p:nvPr>
            <p:ph type="title" hasCustomPrompt="1"/>
          </p:nvPr>
        </p:nvSpPr>
        <p:spPr>
          <a:xfrm>
            <a:off x="2333625" y="1501539"/>
            <a:ext cx="4680858" cy="1061248"/>
          </a:xfrm>
        </p:spPr>
        <p:txBody>
          <a:bodyPr wrap="square" lIns="360000" rIns="0" bIns="0" anchor="b" anchorCtr="0">
            <a:spAutoFit/>
          </a:bodyPr>
          <a:lstStyle>
            <a:lvl1pPr>
              <a:defRPr sz="3700" b="1" baseline="0">
                <a:latin typeface="+mj-lt"/>
                <a:sym typeface="+mn-lt"/>
              </a:defRPr>
            </a:lvl1pPr>
          </a:lstStyle>
          <a:p>
            <a:r>
              <a:rPr lang="en-US" dirty="0"/>
              <a:t>Project name or document title</a:t>
            </a:r>
          </a:p>
        </p:txBody>
      </p:sp>
      <p:sp>
        <p:nvSpPr>
          <p:cNvPr id="19" name="Position Lines"/>
          <p:cNvSpPr>
            <a:spLocks noChangeShapeType="1"/>
          </p:cNvSpPr>
          <p:nvPr>
            <p:custDataLst>
              <p:tags r:id="rId5"/>
            </p:custDataLst>
          </p:nvPr>
        </p:nvSpPr>
        <p:spPr bwMode="auto">
          <a:xfrm>
            <a:off x="443019" y="6886575"/>
            <a:ext cx="0" cy="72000"/>
          </a:xfrm>
          <a:prstGeom prst="line">
            <a:avLst/>
          </a:prstGeom>
          <a:noFill/>
          <a:ln w="3175" cmpd="sng">
            <a:solidFill>
              <a:schemeClr val="accent1"/>
            </a:solidFill>
            <a:round/>
            <a:headEnd/>
            <a:tailEnd/>
          </a:ln>
          <a:effectLst/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C93C545-60C5-4B5D-8AE6-7A5383B84BDB}"/>
              </a:ext>
            </a:extLst>
          </p:cNvPr>
          <p:cNvSpPr/>
          <p:nvPr userDrawn="1"/>
        </p:nvSpPr>
        <p:spPr>
          <a:xfrm>
            <a:off x="1581150" y="1143000"/>
            <a:ext cx="314325" cy="4038600"/>
          </a:xfrm>
          <a:prstGeom prst="rect">
            <a:avLst/>
          </a:prstGeom>
          <a:solidFill>
            <a:srgbClr val="007FBD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t" anchorCtr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6BB21DA2-70EC-4773-9AFE-BD4D6C897955}"/>
              </a:ext>
            </a:extLst>
          </p:cNvPr>
          <p:cNvGrpSpPr/>
          <p:nvPr userDrawn="1"/>
        </p:nvGrpSpPr>
        <p:grpSpPr>
          <a:xfrm>
            <a:off x="11696700" y="0"/>
            <a:ext cx="493713" cy="6858000"/>
            <a:chOff x="11696700" y="0"/>
            <a:chExt cx="493713" cy="6858000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52E9E6D8-D91B-4225-9BB7-3A6A3F6B5458}"/>
                </a:ext>
              </a:extLst>
            </p:cNvPr>
            <p:cNvSpPr/>
            <p:nvPr/>
          </p:nvSpPr>
          <p:spPr>
            <a:xfrm>
              <a:off x="11876088" y="0"/>
              <a:ext cx="314325" cy="6858000"/>
            </a:xfrm>
            <a:prstGeom prst="rect">
              <a:avLst/>
            </a:prstGeom>
            <a:solidFill>
              <a:srgbClr val="007FBD"/>
            </a:solidFill>
            <a:ln w="9525">
              <a:noFill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2000" tIns="72000" rIns="72000" bIns="72000" rtlCol="0" anchor="t" anchorCtr="0">
              <a:no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ts val="4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F1CF154A-9FB2-4133-8B50-197A8BEC7E20}"/>
                </a:ext>
              </a:extLst>
            </p:cNvPr>
            <p:cNvSpPr/>
            <p:nvPr/>
          </p:nvSpPr>
          <p:spPr>
            <a:xfrm>
              <a:off x="11696700" y="0"/>
              <a:ext cx="188913" cy="6858000"/>
            </a:xfrm>
            <a:prstGeom prst="rect">
              <a:avLst/>
            </a:prstGeom>
            <a:solidFill>
              <a:srgbClr val="5EC1EE"/>
            </a:solidFill>
            <a:ln w="9525">
              <a:noFill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2000" tIns="72000" rIns="72000" bIns="72000" rtlCol="0" anchor="t" anchorCtr="0">
              <a:no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ts val="4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0D0E3652-B9B0-42EE-AA59-1CB150C9F03D}"/>
                </a:ext>
              </a:extLst>
            </p:cNvPr>
            <p:cNvGrpSpPr/>
            <p:nvPr/>
          </p:nvGrpSpPr>
          <p:grpSpPr>
            <a:xfrm>
              <a:off x="11810999" y="343796"/>
              <a:ext cx="171451" cy="6514204"/>
              <a:chOff x="11801474" y="343796"/>
              <a:chExt cx="171451" cy="6514204"/>
            </a:xfrm>
          </p:grpSpPr>
          <p:sp>
            <p:nvSpPr>
              <p:cNvPr id="21" name="Freeform: Shape 20">
                <a:extLst>
                  <a:ext uri="{FF2B5EF4-FFF2-40B4-BE49-F238E27FC236}">
                    <a16:creationId xmlns:a16="http://schemas.microsoft.com/office/drawing/2014/main" id="{7ACC28F7-D63A-42DC-A021-48C0985374A4}"/>
                  </a:ext>
                </a:extLst>
              </p:cNvPr>
              <p:cNvSpPr/>
              <p:nvPr/>
            </p:nvSpPr>
            <p:spPr>
              <a:xfrm rot="5400000" flipH="1">
                <a:off x="11733903" y="411367"/>
                <a:ext cx="306594" cy="171451"/>
              </a:xfrm>
              <a:custGeom>
                <a:avLst/>
                <a:gdLst>
                  <a:gd name="connsiteX0" fmla="*/ 1447798 w 1447798"/>
                  <a:gd name="connsiteY0" fmla="*/ 614362 h 809626"/>
                  <a:gd name="connsiteX1" fmla="*/ 1366836 w 1447798"/>
                  <a:gd name="connsiteY1" fmla="*/ 533400 h 809626"/>
                  <a:gd name="connsiteX2" fmla="*/ 1085848 w 1447798"/>
                  <a:gd name="connsiteY2" fmla="*/ 533400 h 809626"/>
                  <a:gd name="connsiteX3" fmla="*/ 1085848 w 1447798"/>
                  <a:gd name="connsiteY3" fmla="*/ 276224 h 809626"/>
                  <a:gd name="connsiteX4" fmla="*/ 1366836 w 1447798"/>
                  <a:gd name="connsiteY4" fmla="*/ 276224 h 809626"/>
                  <a:gd name="connsiteX5" fmla="*/ 1447798 w 1447798"/>
                  <a:gd name="connsiteY5" fmla="*/ 195262 h 809626"/>
                  <a:gd name="connsiteX6" fmla="*/ 1366836 w 1447798"/>
                  <a:gd name="connsiteY6" fmla="*/ 114300 h 809626"/>
                  <a:gd name="connsiteX7" fmla="*/ 1085848 w 1447798"/>
                  <a:gd name="connsiteY7" fmla="*/ 114300 h 809626"/>
                  <a:gd name="connsiteX8" fmla="*/ 1085848 w 1447798"/>
                  <a:gd name="connsiteY8" fmla="*/ 0 h 809626"/>
                  <a:gd name="connsiteX9" fmla="*/ 681035 w 1447798"/>
                  <a:gd name="connsiteY9" fmla="*/ 0 h 809626"/>
                  <a:gd name="connsiteX10" fmla="*/ 308034 w 1447798"/>
                  <a:gd name="connsiteY10" fmla="*/ 247241 h 809626"/>
                  <a:gd name="connsiteX11" fmla="*/ 297558 w 1447798"/>
                  <a:gd name="connsiteY11" fmla="*/ 280988 h 809626"/>
                  <a:gd name="connsiteX12" fmla="*/ 123825 w 1447798"/>
                  <a:gd name="connsiteY12" fmla="*/ 280988 h 809626"/>
                  <a:gd name="connsiteX13" fmla="*/ 9730 w 1447798"/>
                  <a:gd name="connsiteY13" fmla="*/ 356615 h 809626"/>
                  <a:gd name="connsiteX14" fmla="*/ 0 w 1447798"/>
                  <a:gd name="connsiteY14" fmla="*/ 404813 h 809626"/>
                  <a:gd name="connsiteX15" fmla="*/ 9730 w 1447798"/>
                  <a:gd name="connsiteY15" fmla="*/ 453011 h 809626"/>
                  <a:gd name="connsiteX16" fmla="*/ 123825 w 1447798"/>
                  <a:gd name="connsiteY16" fmla="*/ 528637 h 809626"/>
                  <a:gd name="connsiteX17" fmla="*/ 297559 w 1447798"/>
                  <a:gd name="connsiteY17" fmla="*/ 528638 h 809626"/>
                  <a:gd name="connsiteX18" fmla="*/ 308034 w 1447798"/>
                  <a:gd name="connsiteY18" fmla="*/ 562385 h 809626"/>
                  <a:gd name="connsiteX19" fmla="*/ 681035 w 1447798"/>
                  <a:gd name="connsiteY19" fmla="*/ 809626 h 809626"/>
                  <a:gd name="connsiteX20" fmla="*/ 1085848 w 1447798"/>
                  <a:gd name="connsiteY20" fmla="*/ 809625 h 809626"/>
                  <a:gd name="connsiteX21" fmla="*/ 1085848 w 1447798"/>
                  <a:gd name="connsiteY21" fmla="*/ 695324 h 809626"/>
                  <a:gd name="connsiteX22" fmla="*/ 1366836 w 1447798"/>
                  <a:gd name="connsiteY22" fmla="*/ 695324 h 809626"/>
                  <a:gd name="connsiteX23" fmla="*/ 1447798 w 1447798"/>
                  <a:gd name="connsiteY23" fmla="*/ 614362 h 8096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447798" h="809626">
                    <a:moveTo>
                      <a:pt x="1447798" y="614362"/>
                    </a:moveTo>
                    <a:cubicBezTo>
                      <a:pt x="1447798" y="569648"/>
                      <a:pt x="1411550" y="533400"/>
                      <a:pt x="1366836" y="533400"/>
                    </a:cubicBezTo>
                    <a:lnTo>
                      <a:pt x="1085848" y="533400"/>
                    </a:lnTo>
                    <a:lnTo>
                      <a:pt x="1085848" y="276224"/>
                    </a:lnTo>
                    <a:lnTo>
                      <a:pt x="1366836" y="276224"/>
                    </a:lnTo>
                    <a:cubicBezTo>
                      <a:pt x="1411550" y="276224"/>
                      <a:pt x="1447798" y="239976"/>
                      <a:pt x="1447798" y="195262"/>
                    </a:cubicBezTo>
                    <a:cubicBezTo>
                      <a:pt x="1447798" y="150548"/>
                      <a:pt x="1411550" y="114300"/>
                      <a:pt x="1366836" y="114300"/>
                    </a:cubicBezTo>
                    <a:lnTo>
                      <a:pt x="1085848" y="114300"/>
                    </a:lnTo>
                    <a:lnTo>
                      <a:pt x="1085848" y="0"/>
                    </a:lnTo>
                    <a:lnTo>
                      <a:pt x="681035" y="0"/>
                    </a:lnTo>
                    <a:cubicBezTo>
                      <a:pt x="513356" y="0"/>
                      <a:pt x="369488" y="101948"/>
                      <a:pt x="308034" y="247241"/>
                    </a:cubicBezTo>
                    <a:lnTo>
                      <a:pt x="297558" y="280988"/>
                    </a:lnTo>
                    <a:lnTo>
                      <a:pt x="123825" y="280988"/>
                    </a:lnTo>
                    <a:cubicBezTo>
                      <a:pt x="72534" y="280988"/>
                      <a:pt x="28528" y="312172"/>
                      <a:pt x="9730" y="356615"/>
                    </a:cubicBezTo>
                    <a:lnTo>
                      <a:pt x="0" y="404813"/>
                    </a:lnTo>
                    <a:lnTo>
                      <a:pt x="9730" y="453011"/>
                    </a:lnTo>
                    <a:cubicBezTo>
                      <a:pt x="28528" y="497453"/>
                      <a:pt x="72534" y="528637"/>
                      <a:pt x="123825" y="528637"/>
                    </a:cubicBezTo>
                    <a:lnTo>
                      <a:pt x="297559" y="528638"/>
                    </a:lnTo>
                    <a:lnTo>
                      <a:pt x="308034" y="562385"/>
                    </a:lnTo>
                    <a:cubicBezTo>
                      <a:pt x="369488" y="707678"/>
                      <a:pt x="513356" y="809626"/>
                      <a:pt x="681035" y="809626"/>
                    </a:cubicBezTo>
                    <a:lnTo>
                      <a:pt x="1085848" y="809625"/>
                    </a:lnTo>
                    <a:lnTo>
                      <a:pt x="1085848" y="695324"/>
                    </a:lnTo>
                    <a:lnTo>
                      <a:pt x="1366836" y="695324"/>
                    </a:lnTo>
                    <a:cubicBezTo>
                      <a:pt x="1411550" y="695324"/>
                      <a:pt x="1447798" y="659076"/>
                      <a:pt x="1447798" y="61436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lIns="72000" tIns="72000" rIns="72000" bIns="72000" rtlCol="0" anchor="t" anchorCtr="0">
                <a:no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90000"/>
                  </a:lnSpc>
                  <a:spcBef>
                    <a:spcPts val="4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cxnSp>
            <p:nvCxnSpPr>
              <p:cNvPr id="22" name="VerticalLine15">
                <a:extLst>
                  <a:ext uri="{FF2B5EF4-FFF2-40B4-BE49-F238E27FC236}">
                    <a16:creationId xmlns:a16="http://schemas.microsoft.com/office/drawing/2014/main" id="{F016F9DA-C6DA-4D48-8106-8100EB6DBCB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887200" y="630236"/>
                <a:ext cx="0" cy="6227764"/>
              </a:xfrm>
              <a:prstGeom prst="line">
                <a:avLst/>
              </a:prstGeom>
              <a:ln w="22225" cmpd="sng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23" name="Picture 2" descr="Image result for logo electrica">
            <a:extLst>
              <a:ext uri="{FF2B5EF4-FFF2-40B4-BE49-F238E27FC236}">
                <a16:creationId xmlns:a16="http://schemas.microsoft.com/office/drawing/2014/main" id="{78297389-EEB7-4879-A0C4-4D03B778355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382" y="6192000"/>
            <a:ext cx="1065223" cy="3745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179329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EA9E255-9378-4D8C-B0F9-BB1F56FB8E8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5" name="Slide Number Placeholder" hidden="1"/>
          <p:cNvSpPr>
            <a:spLocks noGrp="1"/>
          </p:cNvSpPr>
          <p:nvPr>
            <p:ph type="sldNum" sz="quarter" idx="11"/>
            <p:custDataLst>
              <p:tags r:id="rId3"/>
            </p:custDataLst>
          </p:nvPr>
        </p:nvSpPr>
        <p:spPr>
          <a:xfrm>
            <a:off x="12271633" y="178643"/>
            <a:ext cx="24046" cy="3077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200" b="0">
                <a:solidFill>
                  <a:schemeClr val="bg1">
                    <a:lumMod val="75000"/>
                  </a:schemeClr>
                </a:solidFill>
                <a:latin typeface="+mn-lt"/>
                <a:cs typeface="+mn-cs"/>
                <a:sym typeface="+mn-lt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1940DDA-0656-452C-A408-68789653BD9B}" type="slidenum">
              <a:rPr kumimoji="0" lang="en-US" sz="2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16" name="Footer Placeholder" hidden="1"/>
          <p:cNvSpPr>
            <a:spLocks noGrp="1"/>
          </p:cNvSpPr>
          <p:nvPr>
            <p:ph type="ftr" sz="quarter" idx="12"/>
            <p:custDataLst>
              <p:tags r:id="rId4"/>
            </p:custDataLst>
          </p:nvPr>
        </p:nvSpPr>
        <p:spPr>
          <a:xfrm>
            <a:off x="12271634" y="228649"/>
            <a:ext cx="65" cy="30778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00" b="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5" name="Contents Text"/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738000" y="1710000"/>
            <a:ext cx="10792808" cy="2862835"/>
          </a:xfrm>
        </p:spPr>
        <p:txBody>
          <a:bodyPr wrap="square">
            <a:spAutoFit/>
          </a:bodyPr>
          <a:lstStyle>
            <a:lvl1pPr marL="360000" indent="-360000">
              <a:spcBef>
                <a:spcPts val="2000"/>
              </a:spcBef>
              <a:tabLst>
                <a:tab pos="10792800" algn="r"/>
              </a:tabLst>
              <a:defRPr sz="1700">
                <a:solidFill>
                  <a:schemeClr val="tx1"/>
                </a:solidFill>
                <a:latin typeface="+mn-lt"/>
                <a:cs typeface="+mn-cs"/>
                <a:sym typeface="+mn-lt"/>
              </a:defRPr>
            </a:lvl1pPr>
            <a:lvl2pPr marL="720000" indent="-360000">
              <a:spcBef>
                <a:spcPts val="600"/>
              </a:spcBef>
              <a:buNone/>
              <a:tabLst>
                <a:tab pos="10792800" algn="r"/>
              </a:tabLst>
              <a:defRPr sz="1700" b="0">
                <a:solidFill>
                  <a:schemeClr val="tx1"/>
                </a:solidFill>
                <a:latin typeface="+mn-lt"/>
                <a:sym typeface="+mn-lt"/>
              </a:defRPr>
            </a:lvl2pPr>
            <a:lvl3pPr marL="1260000" indent="-540000">
              <a:spcBef>
                <a:spcPts val="0"/>
              </a:spcBef>
              <a:buNone/>
              <a:tabLst>
                <a:tab pos="10792800" algn="r"/>
              </a:tabLst>
              <a:defRPr sz="1700">
                <a:solidFill>
                  <a:schemeClr val="tx1"/>
                </a:solidFill>
                <a:latin typeface="+mn-lt"/>
                <a:sym typeface="+mn-lt"/>
              </a:defRPr>
            </a:lvl3pPr>
            <a:lvl4pPr marL="1255713" indent="-534988">
              <a:buNone/>
              <a:tabLst>
                <a:tab pos="8521700" algn="r"/>
              </a:tabLst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A.	xxx	xx</a:t>
            </a:r>
          </a:p>
          <a:p>
            <a:pPr lvl="0"/>
            <a:r>
              <a:rPr lang="en-US" dirty="0"/>
              <a:t>B.	xxx	xx</a:t>
            </a:r>
          </a:p>
          <a:p>
            <a:pPr lvl="1"/>
            <a:r>
              <a:rPr lang="en-US" dirty="0"/>
              <a:t>1.	xxx	xx</a:t>
            </a:r>
          </a:p>
          <a:p>
            <a:pPr lvl="1"/>
            <a:r>
              <a:rPr lang="en-US" dirty="0"/>
              <a:t>2.	xxx	xx</a:t>
            </a:r>
          </a:p>
          <a:p>
            <a:pPr lvl="2"/>
            <a:r>
              <a:rPr lang="en-US" dirty="0"/>
              <a:t>2.1	xxx	xx</a:t>
            </a:r>
          </a:p>
          <a:p>
            <a:pPr lvl="2"/>
            <a:r>
              <a:rPr lang="en-US" dirty="0"/>
              <a:t>2.2	xxx	xx</a:t>
            </a:r>
          </a:p>
          <a:p>
            <a:pPr lvl="0"/>
            <a:r>
              <a:rPr lang="en-US" dirty="0"/>
              <a:t>C.	xxx	xx</a:t>
            </a:r>
          </a:p>
          <a:p>
            <a:pPr lvl="1"/>
            <a:r>
              <a:rPr lang="en-US" dirty="0"/>
              <a:t>1.	xxx	xx</a:t>
            </a:r>
          </a:p>
          <a:p>
            <a:pPr lvl="2"/>
            <a:r>
              <a:rPr lang="en-US" dirty="0"/>
              <a:t>1.1	xxx	xx</a:t>
            </a:r>
          </a:p>
        </p:txBody>
      </p:sp>
      <p:sp>
        <p:nvSpPr>
          <p:cNvPr id="13" name="Contents Title"/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738000" y="1040400"/>
            <a:ext cx="10792808" cy="3043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marL="0" marR="0" lvl="0" indent="0" defTabSz="914400" eaLnBrk="1" fontAlgn="auto" latinLnBrk="0" hangingPunct="1">
              <a:lnSpc>
                <a:spcPct val="93000"/>
              </a:lnSpc>
              <a:spcAft>
                <a:spcPts val="0"/>
              </a:spcAft>
              <a:buClrTx/>
              <a:buSzTx/>
              <a:buFontTx/>
              <a:buNone/>
              <a:tabLst>
                <a:tab pos="10792800" algn="r"/>
              </a:tabLst>
              <a:defRPr kumimoji="0" sz="2100" b="0" i="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0792800" algn="r"/>
              </a:tabLst>
              <a:defRPr/>
            </a:pPr>
            <a:r>
              <a:rPr kumimoji="0" lang="en-US" altLang="de-DE" sz="2100" b="0" i="0" u="none" strike="noStrike" kern="1200" cap="none" spc="0" normalizeH="0" baseline="0" noProof="1">
                <a:ln>
                  <a:noFill/>
                </a:ln>
                <a:solidFill>
                  <a:srgbClr val="8D9399"/>
                </a:solidFill>
                <a:effectLst/>
                <a:uLnTx/>
                <a:uFillTx/>
                <a:latin typeface="Arial" panose="020B0604020202020204"/>
                <a:ea typeface="+mj-ea"/>
                <a:cs typeface="+mn-cs"/>
                <a:sym typeface="+mn-lt"/>
              </a:rPr>
              <a:t>Contents	Page</a:t>
            </a:r>
          </a:p>
        </p:txBody>
      </p:sp>
      <p:sp>
        <p:nvSpPr>
          <p:cNvPr id="14" name="Title"/>
          <p:cNvSpPr>
            <a:spLocks noGrp="1"/>
          </p:cNvSpPr>
          <p:nvPr>
            <p:ph type="title" hasCustomPrompt="1"/>
            <p:custDataLst>
              <p:tags r:id="rId7"/>
            </p:custDataLst>
          </p:nvPr>
        </p:nvSpPr>
        <p:spPr>
          <a:xfrm>
            <a:off x="1314902" y="1040400"/>
            <a:ext cx="792000" cy="300531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r" defTabSz="914400" rtl="0" eaLnBrk="1" latinLnBrk="0" hangingPunct="1">
              <a:lnSpc>
                <a:spcPct val="93000"/>
              </a:lnSpc>
              <a:spcBef>
                <a:spcPct val="0"/>
              </a:spcBef>
              <a:buNone/>
              <a:tabLst/>
              <a:defRPr lang="en-US" sz="2100" b="0" kern="120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+mn-lt"/>
              </a:defRPr>
            </a:lvl1pPr>
          </a:lstStyle>
          <a:p>
            <a:r>
              <a:rPr lang="en-US" noProof="1"/>
              <a:t>  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A0F4B133-6128-4197-BCE5-CB4F28B1D5A9}"/>
              </a:ext>
            </a:extLst>
          </p:cNvPr>
          <p:cNvGrpSpPr/>
          <p:nvPr userDrawn="1"/>
        </p:nvGrpSpPr>
        <p:grpSpPr>
          <a:xfrm>
            <a:off x="11696700" y="0"/>
            <a:ext cx="493713" cy="6858000"/>
            <a:chOff x="11696700" y="0"/>
            <a:chExt cx="493713" cy="6858000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08791043-7A4C-4BAB-B21C-4F1EB2E363D0}"/>
                </a:ext>
              </a:extLst>
            </p:cNvPr>
            <p:cNvSpPr/>
            <p:nvPr/>
          </p:nvSpPr>
          <p:spPr>
            <a:xfrm>
              <a:off x="11876088" y="0"/>
              <a:ext cx="314325" cy="6858000"/>
            </a:xfrm>
            <a:prstGeom prst="rect">
              <a:avLst/>
            </a:prstGeom>
            <a:solidFill>
              <a:srgbClr val="007FBD"/>
            </a:solidFill>
            <a:ln w="9525">
              <a:noFill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2000" tIns="72000" rIns="72000" bIns="72000" rtlCol="0" anchor="t" anchorCtr="0">
              <a:no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ts val="4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6FDAEE11-B164-4D6A-A6B1-A7A99E6734E7}"/>
                </a:ext>
              </a:extLst>
            </p:cNvPr>
            <p:cNvSpPr/>
            <p:nvPr/>
          </p:nvSpPr>
          <p:spPr>
            <a:xfrm>
              <a:off x="11696700" y="0"/>
              <a:ext cx="188913" cy="6858000"/>
            </a:xfrm>
            <a:prstGeom prst="rect">
              <a:avLst/>
            </a:prstGeom>
            <a:solidFill>
              <a:srgbClr val="5EC1EE"/>
            </a:solidFill>
            <a:ln w="9525">
              <a:noFill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2000" tIns="72000" rIns="72000" bIns="72000" rtlCol="0" anchor="t" anchorCtr="0">
              <a:no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ts val="4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936DF01F-5F95-4E89-BC18-4A57C6700A40}"/>
                </a:ext>
              </a:extLst>
            </p:cNvPr>
            <p:cNvGrpSpPr/>
            <p:nvPr/>
          </p:nvGrpSpPr>
          <p:grpSpPr>
            <a:xfrm>
              <a:off x="11810999" y="343796"/>
              <a:ext cx="171451" cy="6514204"/>
              <a:chOff x="11801474" y="343796"/>
              <a:chExt cx="171451" cy="6514204"/>
            </a:xfrm>
          </p:grpSpPr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8E79B6C5-9B8D-4CE1-A846-D5440035B27A}"/>
                  </a:ext>
                </a:extLst>
              </p:cNvPr>
              <p:cNvSpPr/>
              <p:nvPr/>
            </p:nvSpPr>
            <p:spPr>
              <a:xfrm rot="5400000" flipH="1">
                <a:off x="11733903" y="411367"/>
                <a:ext cx="306594" cy="171451"/>
              </a:xfrm>
              <a:custGeom>
                <a:avLst/>
                <a:gdLst>
                  <a:gd name="connsiteX0" fmla="*/ 1447798 w 1447798"/>
                  <a:gd name="connsiteY0" fmla="*/ 614362 h 809626"/>
                  <a:gd name="connsiteX1" fmla="*/ 1366836 w 1447798"/>
                  <a:gd name="connsiteY1" fmla="*/ 533400 h 809626"/>
                  <a:gd name="connsiteX2" fmla="*/ 1085848 w 1447798"/>
                  <a:gd name="connsiteY2" fmla="*/ 533400 h 809626"/>
                  <a:gd name="connsiteX3" fmla="*/ 1085848 w 1447798"/>
                  <a:gd name="connsiteY3" fmla="*/ 276224 h 809626"/>
                  <a:gd name="connsiteX4" fmla="*/ 1366836 w 1447798"/>
                  <a:gd name="connsiteY4" fmla="*/ 276224 h 809626"/>
                  <a:gd name="connsiteX5" fmla="*/ 1447798 w 1447798"/>
                  <a:gd name="connsiteY5" fmla="*/ 195262 h 809626"/>
                  <a:gd name="connsiteX6" fmla="*/ 1366836 w 1447798"/>
                  <a:gd name="connsiteY6" fmla="*/ 114300 h 809626"/>
                  <a:gd name="connsiteX7" fmla="*/ 1085848 w 1447798"/>
                  <a:gd name="connsiteY7" fmla="*/ 114300 h 809626"/>
                  <a:gd name="connsiteX8" fmla="*/ 1085848 w 1447798"/>
                  <a:gd name="connsiteY8" fmla="*/ 0 h 809626"/>
                  <a:gd name="connsiteX9" fmla="*/ 681035 w 1447798"/>
                  <a:gd name="connsiteY9" fmla="*/ 0 h 809626"/>
                  <a:gd name="connsiteX10" fmla="*/ 308034 w 1447798"/>
                  <a:gd name="connsiteY10" fmla="*/ 247241 h 809626"/>
                  <a:gd name="connsiteX11" fmla="*/ 297558 w 1447798"/>
                  <a:gd name="connsiteY11" fmla="*/ 280988 h 809626"/>
                  <a:gd name="connsiteX12" fmla="*/ 123825 w 1447798"/>
                  <a:gd name="connsiteY12" fmla="*/ 280988 h 809626"/>
                  <a:gd name="connsiteX13" fmla="*/ 9730 w 1447798"/>
                  <a:gd name="connsiteY13" fmla="*/ 356615 h 809626"/>
                  <a:gd name="connsiteX14" fmla="*/ 0 w 1447798"/>
                  <a:gd name="connsiteY14" fmla="*/ 404813 h 809626"/>
                  <a:gd name="connsiteX15" fmla="*/ 9730 w 1447798"/>
                  <a:gd name="connsiteY15" fmla="*/ 453011 h 809626"/>
                  <a:gd name="connsiteX16" fmla="*/ 123825 w 1447798"/>
                  <a:gd name="connsiteY16" fmla="*/ 528637 h 809626"/>
                  <a:gd name="connsiteX17" fmla="*/ 297559 w 1447798"/>
                  <a:gd name="connsiteY17" fmla="*/ 528638 h 809626"/>
                  <a:gd name="connsiteX18" fmla="*/ 308034 w 1447798"/>
                  <a:gd name="connsiteY18" fmla="*/ 562385 h 809626"/>
                  <a:gd name="connsiteX19" fmla="*/ 681035 w 1447798"/>
                  <a:gd name="connsiteY19" fmla="*/ 809626 h 809626"/>
                  <a:gd name="connsiteX20" fmla="*/ 1085848 w 1447798"/>
                  <a:gd name="connsiteY20" fmla="*/ 809625 h 809626"/>
                  <a:gd name="connsiteX21" fmla="*/ 1085848 w 1447798"/>
                  <a:gd name="connsiteY21" fmla="*/ 695324 h 809626"/>
                  <a:gd name="connsiteX22" fmla="*/ 1366836 w 1447798"/>
                  <a:gd name="connsiteY22" fmla="*/ 695324 h 809626"/>
                  <a:gd name="connsiteX23" fmla="*/ 1447798 w 1447798"/>
                  <a:gd name="connsiteY23" fmla="*/ 614362 h 8096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447798" h="809626">
                    <a:moveTo>
                      <a:pt x="1447798" y="614362"/>
                    </a:moveTo>
                    <a:cubicBezTo>
                      <a:pt x="1447798" y="569648"/>
                      <a:pt x="1411550" y="533400"/>
                      <a:pt x="1366836" y="533400"/>
                    </a:cubicBezTo>
                    <a:lnTo>
                      <a:pt x="1085848" y="533400"/>
                    </a:lnTo>
                    <a:lnTo>
                      <a:pt x="1085848" y="276224"/>
                    </a:lnTo>
                    <a:lnTo>
                      <a:pt x="1366836" y="276224"/>
                    </a:lnTo>
                    <a:cubicBezTo>
                      <a:pt x="1411550" y="276224"/>
                      <a:pt x="1447798" y="239976"/>
                      <a:pt x="1447798" y="195262"/>
                    </a:cubicBezTo>
                    <a:cubicBezTo>
                      <a:pt x="1447798" y="150548"/>
                      <a:pt x="1411550" y="114300"/>
                      <a:pt x="1366836" y="114300"/>
                    </a:cubicBezTo>
                    <a:lnTo>
                      <a:pt x="1085848" y="114300"/>
                    </a:lnTo>
                    <a:lnTo>
                      <a:pt x="1085848" y="0"/>
                    </a:lnTo>
                    <a:lnTo>
                      <a:pt x="681035" y="0"/>
                    </a:lnTo>
                    <a:cubicBezTo>
                      <a:pt x="513356" y="0"/>
                      <a:pt x="369488" y="101948"/>
                      <a:pt x="308034" y="247241"/>
                    </a:cubicBezTo>
                    <a:lnTo>
                      <a:pt x="297558" y="280988"/>
                    </a:lnTo>
                    <a:lnTo>
                      <a:pt x="123825" y="280988"/>
                    </a:lnTo>
                    <a:cubicBezTo>
                      <a:pt x="72534" y="280988"/>
                      <a:pt x="28528" y="312172"/>
                      <a:pt x="9730" y="356615"/>
                    </a:cubicBezTo>
                    <a:lnTo>
                      <a:pt x="0" y="404813"/>
                    </a:lnTo>
                    <a:lnTo>
                      <a:pt x="9730" y="453011"/>
                    </a:lnTo>
                    <a:cubicBezTo>
                      <a:pt x="28528" y="497453"/>
                      <a:pt x="72534" y="528637"/>
                      <a:pt x="123825" y="528637"/>
                    </a:cubicBezTo>
                    <a:lnTo>
                      <a:pt x="297559" y="528638"/>
                    </a:lnTo>
                    <a:lnTo>
                      <a:pt x="308034" y="562385"/>
                    </a:lnTo>
                    <a:cubicBezTo>
                      <a:pt x="369488" y="707678"/>
                      <a:pt x="513356" y="809626"/>
                      <a:pt x="681035" y="809626"/>
                    </a:cubicBezTo>
                    <a:lnTo>
                      <a:pt x="1085848" y="809625"/>
                    </a:lnTo>
                    <a:lnTo>
                      <a:pt x="1085848" y="695324"/>
                    </a:lnTo>
                    <a:lnTo>
                      <a:pt x="1366836" y="695324"/>
                    </a:lnTo>
                    <a:cubicBezTo>
                      <a:pt x="1411550" y="695324"/>
                      <a:pt x="1447798" y="659076"/>
                      <a:pt x="1447798" y="61436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lIns="72000" tIns="72000" rIns="72000" bIns="72000" rtlCol="0" anchor="t" anchorCtr="0">
                <a:no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90000"/>
                  </a:lnSpc>
                  <a:spcBef>
                    <a:spcPts val="4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cxnSp>
            <p:nvCxnSpPr>
              <p:cNvPr id="24" name="VerticalLine15">
                <a:extLst>
                  <a:ext uri="{FF2B5EF4-FFF2-40B4-BE49-F238E27FC236}">
                    <a16:creationId xmlns:a16="http://schemas.microsoft.com/office/drawing/2014/main" id="{2279DA6E-0D65-4DCA-A2A0-F1BD415960B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887200" y="630236"/>
                <a:ext cx="0" cy="6227764"/>
              </a:xfrm>
              <a:prstGeom prst="line">
                <a:avLst/>
              </a:prstGeom>
              <a:ln w="22225" cmpd="sng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8570316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" hidden="1"/>
          <p:cNvSpPr>
            <a:spLocks noGrp="1"/>
          </p:cNvSpPr>
          <p:nvPr>
            <p:ph type="sldNum" sz="quarter" idx="11"/>
            <p:custDataLst>
              <p:tags r:id="rId1"/>
            </p:custDataLst>
          </p:nvPr>
        </p:nvSpPr>
        <p:spPr>
          <a:xfrm>
            <a:off x="12271633" y="178643"/>
            <a:ext cx="24046" cy="3077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200" b="0">
                <a:solidFill>
                  <a:schemeClr val="bg1">
                    <a:lumMod val="75000"/>
                  </a:schemeClr>
                </a:solidFill>
                <a:latin typeface="+mn-lt"/>
                <a:cs typeface="+mn-cs"/>
                <a:sym typeface="+mn-lt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1940DDA-0656-452C-A408-68789653BD9B}" type="slidenum">
              <a:rPr kumimoji="0" lang="en-US" sz="2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4" name="Footer Placeholder" hidden="1"/>
          <p:cNvSpPr>
            <a:spLocks noGrp="1"/>
          </p:cNvSpPr>
          <p:nvPr>
            <p:ph type="ftr" sz="quarter" idx="12"/>
            <p:custDataLst>
              <p:tags r:id="rId2"/>
            </p:custDataLst>
          </p:nvPr>
        </p:nvSpPr>
        <p:spPr>
          <a:xfrm>
            <a:off x="12271634" y="228649"/>
            <a:ext cx="65" cy="30778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00" b="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159356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3811461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6FF441E-CF3E-44DE-A6D8-41B3243FAB3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7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Slide Number Placeholder" hidden="1"/>
          <p:cNvSpPr>
            <a:spLocks noGrp="1"/>
          </p:cNvSpPr>
          <p:nvPr>
            <p:ph type="sldNum" sz="quarter" idx="11"/>
          </p:nvPr>
        </p:nvSpPr>
        <p:spPr>
          <a:xfrm>
            <a:off x="12271633" y="178643"/>
            <a:ext cx="24046" cy="3077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200" b="0">
                <a:solidFill>
                  <a:schemeClr val="bg1">
                    <a:lumMod val="75000"/>
                  </a:schemeClr>
                </a:solidFill>
                <a:latin typeface="+mn-lt"/>
                <a:cs typeface="+mn-cs"/>
                <a:sym typeface="+mn-lt"/>
              </a:defRPr>
            </a:lvl1pPr>
          </a:lstStyle>
          <a:p>
            <a:fld id="{01940DDA-0656-452C-A408-68789653BD9B}" type="slidenum">
              <a:rPr lang="en-US" smtClean="0">
                <a:latin typeface="+mn-lt"/>
              </a:rPr>
              <a:pPr/>
              <a:t>‹#›</a:t>
            </a:fld>
            <a:endParaRPr lang="en-US" dirty="0">
              <a:latin typeface="+mn-lt"/>
            </a:endParaRPr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10"/>
          </p:nvPr>
        </p:nvSpPr>
        <p:spPr>
          <a:xfrm>
            <a:off x="12271634" y="228649"/>
            <a:ext cx="65" cy="30778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00" b="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latin typeface="+mn-lt"/>
            </a:endParaRPr>
          </a:p>
        </p:txBody>
      </p:sp>
      <p:sp>
        <p:nvSpPr>
          <p:cNvPr id="14" name="Title"/>
          <p:cNvSpPr>
            <a:spLocks noGrp="1"/>
          </p:cNvSpPr>
          <p:nvPr>
            <p:ph type="title" hasCustomPrompt="1"/>
          </p:nvPr>
        </p:nvSpPr>
        <p:spPr>
          <a:xfrm>
            <a:off x="3581399" y="2370964"/>
            <a:ext cx="4619625" cy="373949"/>
          </a:xfrm>
        </p:spPr>
        <p:txBody>
          <a:bodyPr wrap="square" lIns="360000" tIns="0" rIns="0" bIns="0" anchor="b" anchorCtr="0">
            <a:spAutoFit/>
          </a:bodyPr>
          <a:lstStyle>
            <a:lvl1pPr marL="528638" indent="-528638" algn="l">
              <a:tabLst>
                <a:tab pos="530352" algn="l"/>
                <a:tab pos="813816" algn="l"/>
              </a:tabLst>
              <a:defRPr b="1">
                <a:latin typeface="+mj-lt"/>
                <a:sym typeface="+mn-lt"/>
              </a:defRPr>
            </a:lvl1pPr>
          </a:lstStyle>
          <a:p>
            <a:r>
              <a:rPr lang="en-US" dirty="0"/>
              <a:t>A.   Click to edit text</a:t>
            </a:r>
            <a:endParaRPr lang="de-DE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9CDB5F3-1C79-4BD5-8F1C-E9A1A03C434F}"/>
              </a:ext>
            </a:extLst>
          </p:cNvPr>
          <p:cNvSpPr/>
          <p:nvPr userDrawn="1"/>
        </p:nvSpPr>
        <p:spPr>
          <a:xfrm>
            <a:off x="3171825" y="1143000"/>
            <a:ext cx="314325" cy="4038600"/>
          </a:xfrm>
          <a:prstGeom prst="rect">
            <a:avLst/>
          </a:prstGeom>
          <a:solidFill>
            <a:srgbClr val="007FBD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endParaRPr lang="en-US" sz="1500" b="0" dirty="0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1EEDC4D7-3E20-4BC0-BA13-6E6FAF9007FA}"/>
              </a:ext>
            </a:extLst>
          </p:cNvPr>
          <p:cNvGrpSpPr/>
          <p:nvPr userDrawn="1"/>
        </p:nvGrpSpPr>
        <p:grpSpPr>
          <a:xfrm>
            <a:off x="11696700" y="0"/>
            <a:ext cx="493713" cy="6858000"/>
            <a:chOff x="11696700" y="0"/>
            <a:chExt cx="493713" cy="6858000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2839F267-D8FE-4CDC-B6E6-964BDF2D47B1}"/>
                </a:ext>
              </a:extLst>
            </p:cNvPr>
            <p:cNvSpPr/>
            <p:nvPr/>
          </p:nvSpPr>
          <p:spPr>
            <a:xfrm>
              <a:off x="11876088" y="0"/>
              <a:ext cx="314325" cy="6858000"/>
            </a:xfrm>
            <a:prstGeom prst="rect">
              <a:avLst/>
            </a:prstGeom>
            <a:solidFill>
              <a:srgbClr val="007FBD"/>
            </a:solidFill>
            <a:ln w="9525">
              <a:noFill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2000" tIns="72000" rIns="72000" bIns="72000" rtlCol="0" anchor="t" anchorCtr="0"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400"/>
                </a:spcBef>
              </a:pPr>
              <a:endParaRPr lang="en-US" sz="1500" b="0" dirty="0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AE5F9B6B-8C97-4AEA-88D6-BD483CAD2365}"/>
                </a:ext>
              </a:extLst>
            </p:cNvPr>
            <p:cNvSpPr/>
            <p:nvPr/>
          </p:nvSpPr>
          <p:spPr>
            <a:xfrm>
              <a:off x="11696700" y="0"/>
              <a:ext cx="188913" cy="6858000"/>
            </a:xfrm>
            <a:prstGeom prst="rect">
              <a:avLst/>
            </a:prstGeom>
            <a:solidFill>
              <a:srgbClr val="5EC1EE"/>
            </a:solidFill>
            <a:ln w="9525">
              <a:noFill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2000" tIns="72000" rIns="72000" bIns="72000" rtlCol="0" anchor="t" anchorCtr="0"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400"/>
                </a:spcBef>
              </a:pPr>
              <a:endParaRPr lang="en-US" sz="1500" b="0" dirty="0"/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D4B5DD17-E8C1-4257-BE6B-0A3ED371A273}"/>
                </a:ext>
              </a:extLst>
            </p:cNvPr>
            <p:cNvGrpSpPr/>
            <p:nvPr/>
          </p:nvGrpSpPr>
          <p:grpSpPr>
            <a:xfrm>
              <a:off x="11810999" y="343796"/>
              <a:ext cx="171451" cy="6514204"/>
              <a:chOff x="11801474" y="343796"/>
              <a:chExt cx="171451" cy="6514204"/>
            </a:xfrm>
          </p:grpSpPr>
          <p:sp>
            <p:nvSpPr>
              <p:cNvPr id="19" name="Freeform: Shape 18">
                <a:extLst>
                  <a:ext uri="{FF2B5EF4-FFF2-40B4-BE49-F238E27FC236}">
                    <a16:creationId xmlns:a16="http://schemas.microsoft.com/office/drawing/2014/main" id="{D1CCA80F-7E77-44A8-9244-A54996C92EBC}"/>
                  </a:ext>
                </a:extLst>
              </p:cNvPr>
              <p:cNvSpPr/>
              <p:nvPr/>
            </p:nvSpPr>
            <p:spPr>
              <a:xfrm rot="5400000" flipH="1">
                <a:off x="11733903" y="411367"/>
                <a:ext cx="306594" cy="171451"/>
              </a:xfrm>
              <a:custGeom>
                <a:avLst/>
                <a:gdLst>
                  <a:gd name="connsiteX0" fmla="*/ 1447798 w 1447798"/>
                  <a:gd name="connsiteY0" fmla="*/ 614362 h 809626"/>
                  <a:gd name="connsiteX1" fmla="*/ 1366836 w 1447798"/>
                  <a:gd name="connsiteY1" fmla="*/ 533400 h 809626"/>
                  <a:gd name="connsiteX2" fmla="*/ 1085848 w 1447798"/>
                  <a:gd name="connsiteY2" fmla="*/ 533400 h 809626"/>
                  <a:gd name="connsiteX3" fmla="*/ 1085848 w 1447798"/>
                  <a:gd name="connsiteY3" fmla="*/ 276224 h 809626"/>
                  <a:gd name="connsiteX4" fmla="*/ 1366836 w 1447798"/>
                  <a:gd name="connsiteY4" fmla="*/ 276224 h 809626"/>
                  <a:gd name="connsiteX5" fmla="*/ 1447798 w 1447798"/>
                  <a:gd name="connsiteY5" fmla="*/ 195262 h 809626"/>
                  <a:gd name="connsiteX6" fmla="*/ 1366836 w 1447798"/>
                  <a:gd name="connsiteY6" fmla="*/ 114300 h 809626"/>
                  <a:gd name="connsiteX7" fmla="*/ 1085848 w 1447798"/>
                  <a:gd name="connsiteY7" fmla="*/ 114300 h 809626"/>
                  <a:gd name="connsiteX8" fmla="*/ 1085848 w 1447798"/>
                  <a:gd name="connsiteY8" fmla="*/ 0 h 809626"/>
                  <a:gd name="connsiteX9" fmla="*/ 681035 w 1447798"/>
                  <a:gd name="connsiteY9" fmla="*/ 0 h 809626"/>
                  <a:gd name="connsiteX10" fmla="*/ 308034 w 1447798"/>
                  <a:gd name="connsiteY10" fmla="*/ 247241 h 809626"/>
                  <a:gd name="connsiteX11" fmla="*/ 297558 w 1447798"/>
                  <a:gd name="connsiteY11" fmla="*/ 280988 h 809626"/>
                  <a:gd name="connsiteX12" fmla="*/ 123825 w 1447798"/>
                  <a:gd name="connsiteY12" fmla="*/ 280988 h 809626"/>
                  <a:gd name="connsiteX13" fmla="*/ 9730 w 1447798"/>
                  <a:gd name="connsiteY13" fmla="*/ 356615 h 809626"/>
                  <a:gd name="connsiteX14" fmla="*/ 0 w 1447798"/>
                  <a:gd name="connsiteY14" fmla="*/ 404813 h 809626"/>
                  <a:gd name="connsiteX15" fmla="*/ 9730 w 1447798"/>
                  <a:gd name="connsiteY15" fmla="*/ 453011 h 809626"/>
                  <a:gd name="connsiteX16" fmla="*/ 123825 w 1447798"/>
                  <a:gd name="connsiteY16" fmla="*/ 528637 h 809626"/>
                  <a:gd name="connsiteX17" fmla="*/ 297559 w 1447798"/>
                  <a:gd name="connsiteY17" fmla="*/ 528638 h 809626"/>
                  <a:gd name="connsiteX18" fmla="*/ 308034 w 1447798"/>
                  <a:gd name="connsiteY18" fmla="*/ 562385 h 809626"/>
                  <a:gd name="connsiteX19" fmla="*/ 681035 w 1447798"/>
                  <a:gd name="connsiteY19" fmla="*/ 809626 h 809626"/>
                  <a:gd name="connsiteX20" fmla="*/ 1085848 w 1447798"/>
                  <a:gd name="connsiteY20" fmla="*/ 809625 h 809626"/>
                  <a:gd name="connsiteX21" fmla="*/ 1085848 w 1447798"/>
                  <a:gd name="connsiteY21" fmla="*/ 695324 h 809626"/>
                  <a:gd name="connsiteX22" fmla="*/ 1366836 w 1447798"/>
                  <a:gd name="connsiteY22" fmla="*/ 695324 h 809626"/>
                  <a:gd name="connsiteX23" fmla="*/ 1447798 w 1447798"/>
                  <a:gd name="connsiteY23" fmla="*/ 614362 h 8096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447798" h="809626">
                    <a:moveTo>
                      <a:pt x="1447798" y="614362"/>
                    </a:moveTo>
                    <a:cubicBezTo>
                      <a:pt x="1447798" y="569648"/>
                      <a:pt x="1411550" y="533400"/>
                      <a:pt x="1366836" y="533400"/>
                    </a:cubicBezTo>
                    <a:lnTo>
                      <a:pt x="1085848" y="533400"/>
                    </a:lnTo>
                    <a:lnTo>
                      <a:pt x="1085848" y="276224"/>
                    </a:lnTo>
                    <a:lnTo>
                      <a:pt x="1366836" y="276224"/>
                    </a:lnTo>
                    <a:cubicBezTo>
                      <a:pt x="1411550" y="276224"/>
                      <a:pt x="1447798" y="239976"/>
                      <a:pt x="1447798" y="195262"/>
                    </a:cubicBezTo>
                    <a:cubicBezTo>
                      <a:pt x="1447798" y="150548"/>
                      <a:pt x="1411550" y="114300"/>
                      <a:pt x="1366836" y="114300"/>
                    </a:cubicBezTo>
                    <a:lnTo>
                      <a:pt x="1085848" y="114300"/>
                    </a:lnTo>
                    <a:lnTo>
                      <a:pt x="1085848" y="0"/>
                    </a:lnTo>
                    <a:lnTo>
                      <a:pt x="681035" y="0"/>
                    </a:lnTo>
                    <a:cubicBezTo>
                      <a:pt x="513356" y="0"/>
                      <a:pt x="369488" y="101948"/>
                      <a:pt x="308034" y="247241"/>
                    </a:cubicBezTo>
                    <a:lnTo>
                      <a:pt x="297558" y="280988"/>
                    </a:lnTo>
                    <a:lnTo>
                      <a:pt x="123825" y="280988"/>
                    </a:lnTo>
                    <a:cubicBezTo>
                      <a:pt x="72534" y="280988"/>
                      <a:pt x="28528" y="312172"/>
                      <a:pt x="9730" y="356615"/>
                    </a:cubicBezTo>
                    <a:lnTo>
                      <a:pt x="0" y="404813"/>
                    </a:lnTo>
                    <a:lnTo>
                      <a:pt x="9730" y="453011"/>
                    </a:lnTo>
                    <a:cubicBezTo>
                      <a:pt x="28528" y="497453"/>
                      <a:pt x="72534" y="528637"/>
                      <a:pt x="123825" y="528637"/>
                    </a:cubicBezTo>
                    <a:lnTo>
                      <a:pt x="297559" y="528638"/>
                    </a:lnTo>
                    <a:lnTo>
                      <a:pt x="308034" y="562385"/>
                    </a:lnTo>
                    <a:cubicBezTo>
                      <a:pt x="369488" y="707678"/>
                      <a:pt x="513356" y="809626"/>
                      <a:pt x="681035" y="809626"/>
                    </a:cubicBezTo>
                    <a:lnTo>
                      <a:pt x="1085848" y="809625"/>
                    </a:lnTo>
                    <a:lnTo>
                      <a:pt x="1085848" y="695324"/>
                    </a:lnTo>
                    <a:lnTo>
                      <a:pt x="1366836" y="695324"/>
                    </a:lnTo>
                    <a:cubicBezTo>
                      <a:pt x="1411550" y="695324"/>
                      <a:pt x="1447798" y="659076"/>
                      <a:pt x="1447798" y="61436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lIns="72000" tIns="72000" rIns="72000" bIns="72000" rtlCol="0" anchor="t" anchorCtr="0"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400"/>
                  </a:spcBef>
                </a:pPr>
                <a:endParaRPr lang="en-US" sz="1500" b="0" dirty="0"/>
              </a:p>
            </p:txBody>
          </p:sp>
          <p:cxnSp>
            <p:nvCxnSpPr>
              <p:cNvPr id="20" name="VerticalLine15">
                <a:extLst>
                  <a:ext uri="{FF2B5EF4-FFF2-40B4-BE49-F238E27FC236}">
                    <a16:creationId xmlns:a16="http://schemas.microsoft.com/office/drawing/2014/main" id="{208E8C6B-91F8-41FA-8DB1-42F9AE516CA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887200" y="630236"/>
                <a:ext cx="0" cy="6227764"/>
              </a:xfrm>
              <a:prstGeom prst="line">
                <a:avLst/>
              </a:prstGeom>
              <a:ln w="22225" cmpd="sng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21" name="Picture 2" descr="Image result for logo electrica">
            <a:extLst>
              <a:ext uri="{FF2B5EF4-FFF2-40B4-BE49-F238E27FC236}">
                <a16:creationId xmlns:a16="http://schemas.microsoft.com/office/drawing/2014/main" id="{00BC2C31-6C01-4EE4-8922-60F12539917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382" y="6192000"/>
            <a:ext cx="1065223" cy="3745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439166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05266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36A4C0F-CD47-4E9B-A63A-119DE350A92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7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Slide Number Placeholder" hidden="1"/>
          <p:cNvSpPr>
            <a:spLocks noGrp="1"/>
          </p:cNvSpPr>
          <p:nvPr>
            <p:ph type="sldNum" sz="quarter" idx="11"/>
            <p:custDataLst>
              <p:tags r:id="rId3"/>
            </p:custDataLst>
          </p:nvPr>
        </p:nvSpPr>
        <p:spPr>
          <a:xfrm>
            <a:off x="12271633" y="178643"/>
            <a:ext cx="24046" cy="3077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200" b="0">
                <a:solidFill>
                  <a:schemeClr val="bg1">
                    <a:lumMod val="75000"/>
                  </a:schemeClr>
                </a:solidFill>
                <a:latin typeface="+mn-lt"/>
                <a:cs typeface="+mn-cs"/>
                <a:sym typeface="+mn-lt"/>
              </a:defRPr>
            </a:lvl1pPr>
          </a:lstStyle>
          <a:p>
            <a:fld id="{01940DDA-0656-452C-A408-68789653BD9B}" type="slidenum">
              <a:rPr lang="en-US" smtClean="0">
                <a:latin typeface="+mn-lt"/>
              </a:rPr>
              <a:pPr/>
              <a:t>‹#›</a:t>
            </a:fld>
            <a:endParaRPr lang="en-US" dirty="0">
              <a:latin typeface="+mn-lt"/>
            </a:endParaRPr>
          </a:p>
        </p:txBody>
      </p:sp>
      <p:sp>
        <p:nvSpPr>
          <p:cNvPr id="15" name="Footer Placeholder" hidden="1"/>
          <p:cNvSpPr>
            <a:spLocks noGrp="1"/>
          </p:cNvSpPr>
          <p:nvPr>
            <p:ph type="ftr" sz="quarter" idx="10"/>
            <p:custDataLst>
              <p:tags r:id="rId4"/>
            </p:custDataLst>
          </p:nvPr>
        </p:nvSpPr>
        <p:spPr>
          <a:xfrm>
            <a:off x="12271634" y="228649"/>
            <a:ext cx="65" cy="30778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00" b="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latin typeface="+mn-lt"/>
            </a:endParaRPr>
          </a:p>
        </p:txBody>
      </p:sp>
      <p:sp>
        <p:nvSpPr>
          <p:cNvPr id="10" name="Type of document"/>
          <p:cNvSpPr>
            <a:spLocks noGrp="1"/>
          </p:cNvSpPr>
          <p:nvPr>
            <p:ph type="body" sz="quarter" idx="18" hasCustomPrompt="1"/>
          </p:nvPr>
        </p:nvSpPr>
        <p:spPr>
          <a:xfrm>
            <a:off x="2333625" y="2748344"/>
            <a:ext cx="4680858" cy="581698"/>
          </a:xfrm>
        </p:spPr>
        <p:txBody>
          <a:bodyPr wrap="square" lIns="360000" tIns="0" rIns="0" anchor="t" anchorCtr="0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700">
                <a:latin typeface="+mn-lt"/>
                <a:sym typeface="+mn-lt"/>
              </a:defRPr>
            </a:lvl1pPr>
            <a:lvl2pPr>
              <a:lnSpc>
                <a:spcPct val="90000"/>
              </a:lnSpc>
              <a:spcBef>
                <a:spcPts val="0"/>
              </a:spcBef>
              <a:defRPr/>
            </a:lvl2pPr>
            <a:lvl3pPr>
              <a:lnSpc>
                <a:spcPct val="90000"/>
              </a:lnSpc>
              <a:spcBef>
                <a:spcPts val="0"/>
              </a:spcBef>
              <a:defRPr/>
            </a:lvl3pPr>
            <a:lvl4pPr>
              <a:lnSpc>
                <a:spcPct val="90000"/>
              </a:lnSpc>
              <a:spcBef>
                <a:spcPts val="0"/>
              </a:spcBef>
              <a:defRPr/>
            </a:lvl4pPr>
            <a:lvl5pPr>
              <a:lnSpc>
                <a:spcPct val="90000"/>
              </a:lnSpc>
              <a:spcBef>
                <a:spcPts val="0"/>
              </a:spcBef>
              <a:defRPr/>
            </a:lvl5pPr>
          </a:lstStyle>
          <a:p>
            <a:pPr lvl="0"/>
            <a:r>
              <a:rPr lang="en-US" dirty="0"/>
              <a:t>Type of document</a:t>
            </a:r>
            <a:br>
              <a:rPr lang="en-US" dirty="0"/>
            </a:br>
            <a:r>
              <a:rPr lang="en-US" dirty="0"/>
              <a:t>(max. two lines)</a:t>
            </a:r>
          </a:p>
        </p:txBody>
      </p:sp>
      <p:sp>
        <p:nvSpPr>
          <p:cNvPr id="4" name="Project name"/>
          <p:cNvSpPr>
            <a:spLocks noGrp="1"/>
          </p:cNvSpPr>
          <p:nvPr>
            <p:ph type="title" hasCustomPrompt="1"/>
          </p:nvPr>
        </p:nvSpPr>
        <p:spPr>
          <a:xfrm>
            <a:off x="2333625" y="1501539"/>
            <a:ext cx="4680858" cy="1061248"/>
          </a:xfrm>
        </p:spPr>
        <p:txBody>
          <a:bodyPr wrap="square" lIns="360000" rIns="0" bIns="0" anchor="b" anchorCtr="0">
            <a:spAutoFit/>
          </a:bodyPr>
          <a:lstStyle>
            <a:lvl1pPr>
              <a:defRPr sz="3700" b="1" baseline="0">
                <a:latin typeface="+mj-lt"/>
                <a:sym typeface="+mn-lt"/>
              </a:defRPr>
            </a:lvl1pPr>
          </a:lstStyle>
          <a:p>
            <a:r>
              <a:rPr lang="en-US" dirty="0"/>
              <a:t>Project name or document title</a:t>
            </a:r>
          </a:p>
        </p:txBody>
      </p:sp>
      <p:sp>
        <p:nvSpPr>
          <p:cNvPr id="19" name="Position Lines"/>
          <p:cNvSpPr>
            <a:spLocks noChangeShapeType="1"/>
          </p:cNvSpPr>
          <p:nvPr>
            <p:custDataLst>
              <p:tags r:id="rId5"/>
            </p:custDataLst>
          </p:nvPr>
        </p:nvSpPr>
        <p:spPr bwMode="auto">
          <a:xfrm>
            <a:off x="443019" y="6886575"/>
            <a:ext cx="0" cy="72000"/>
          </a:xfrm>
          <a:prstGeom prst="line">
            <a:avLst/>
          </a:prstGeom>
          <a:noFill/>
          <a:ln w="3175" cmpd="sng">
            <a:solidFill>
              <a:schemeClr val="accent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noProof="0" dirty="0">
              <a:latin typeface="+mn-lt"/>
              <a:sym typeface="+mn-lt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C93C545-60C5-4B5D-8AE6-7A5383B84BDB}"/>
              </a:ext>
            </a:extLst>
          </p:cNvPr>
          <p:cNvSpPr/>
          <p:nvPr userDrawn="1"/>
        </p:nvSpPr>
        <p:spPr>
          <a:xfrm>
            <a:off x="1581150" y="1143000"/>
            <a:ext cx="314325" cy="4038600"/>
          </a:xfrm>
          <a:prstGeom prst="rect">
            <a:avLst/>
          </a:prstGeom>
          <a:solidFill>
            <a:srgbClr val="007FBD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endParaRPr lang="en-US" sz="1500" b="0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6BB21DA2-70EC-4773-9AFE-BD4D6C897955}"/>
              </a:ext>
            </a:extLst>
          </p:cNvPr>
          <p:cNvGrpSpPr/>
          <p:nvPr userDrawn="1"/>
        </p:nvGrpSpPr>
        <p:grpSpPr>
          <a:xfrm>
            <a:off x="11696700" y="0"/>
            <a:ext cx="493713" cy="6858000"/>
            <a:chOff x="11696700" y="0"/>
            <a:chExt cx="493713" cy="6858000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52E9E6D8-D91B-4225-9BB7-3A6A3F6B5458}"/>
                </a:ext>
              </a:extLst>
            </p:cNvPr>
            <p:cNvSpPr/>
            <p:nvPr/>
          </p:nvSpPr>
          <p:spPr>
            <a:xfrm>
              <a:off x="11876088" y="0"/>
              <a:ext cx="314325" cy="6858000"/>
            </a:xfrm>
            <a:prstGeom prst="rect">
              <a:avLst/>
            </a:prstGeom>
            <a:solidFill>
              <a:srgbClr val="007FBD"/>
            </a:solidFill>
            <a:ln w="9525">
              <a:noFill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2000" tIns="72000" rIns="72000" bIns="72000" rtlCol="0" anchor="t" anchorCtr="0"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400"/>
                </a:spcBef>
              </a:pPr>
              <a:endParaRPr lang="en-US" sz="1500" b="0" dirty="0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F1CF154A-9FB2-4133-8B50-197A8BEC7E20}"/>
                </a:ext>
              </a:extLst>
            </p:cNvPr>
            <p:cNvSpPr/>
            <p:nvPr/>
          </p:nvSpPr>
          <p:spPr>
            <a:xfrm>
              <a:off x="11696700" y="0"/>
              <a:ext cx="188913" cy="6858000"/>
            </a:xfrm>
            <a:prstGeom prst="rect">
              <a:avLst/>
            </a:prstGeom>
            <a:solidFill>
              <a:srgbClr val="5EC1EE"/>
            </a:solidFill>
            <a:ln w="9525">
              <a:noFill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2000" tIns="72000" rIns="72000" bIns="72000" rtlCol="0" anchor="t" anchorCtr="0"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400"/>
                </a:spcBef>
              </a:pPr>
              <a:endParaRPr lang="en-US" sz="1500" b="0" dirty="0"/>
            </a:p>
          </p:txBody>
        </p: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0D0E3652-B9B0-42EE-AA59-1CB150C9F03D}"/>
                </a:ext>
              </a:extLst>
            </p:cNvPr>
            <p:cNvGrpSpPr/>
            <p:nvPr/>
          </p:nvGrpSpPr>
          <p:grpSpPr>
            <a:xfrm>
              <a:off x="11810999" y="343796"/>
              <a:ext cx="171451" cy="6514204"/>
              <a:chOff x="11801474" y="343796"/>
              <a:chExt cx="171451" cy="6514204"/>
            </a:xfrm>
          </p:grpSpPr>
          <p:sp>
            <p:nvSpPr>
              <p:cNvPr id="21" name="Freeform: Shape 20">
                <a:extLst>
                  <a:ext uri="{FF2B5EF4-FFF2-40B4-BE49-F238E27FC236}">
                    <a16:creationId xmlns:a16="http://schemas.microsoft.com/office/drawing/2014/main" id="{7ACC28F7-D63A-42DC-A021-48C0985374A4}"/>
                  </a:ext>
                </a:extLst>
              </p:cNvPr>
              <p:cNvSpPr/>
              <p:nvPr/>
            </p:nvSpPr>
            <p:spPr>
              <a:xfrm rot="5400000" flipH="1">
                <a:off x="11733903" y="411367"/>
                <a:ext cx="306594" cy="171451"/>
              </a:xfrm>
              <a:custGeom>
                <a:avLst/>
                <a:gdLst>
                  <a:gd name="connsiteX0" fmla="*/ 1447798 w 1447798"/>
                  <a:gd name="connsiteY0" fmla="*/ 614362 h 809626"/>
                  <a:gd name="connsiteX1" fmla="*/ 1366836 w 1447798"/>
                  <a:gd name="connsiteY1" fmla="*/ 533400 h 809626"/>
                  <a:gd name="connsiteX2" fmla="*/ 1085848 w 1447798"/>
                  <a:gd name="connsiteY2" fmla="*/ 533400 h 809626"/>
                  <a:gd name="connsiteX3" fmla="*/ 1085848 w 1447798"/>
                  <a:gd name="connsiteY3" fmla="*/ 276224 h 809626"/>
                  <a:gd name="connsiteX4" fmla="*/ 1366836 w 1447798"/>
                  <a:gd name="connsiteY4" fmla="*/ 276224 h 809626"/>
                  <a:gd name="connsiteX5" fmla="*/ 1447798 w 1447798"/>
                  <a:gd name="connsiteY5" fmla="*/ 195262 h 809626"/>
                  <a:gd name="connsiteX6" fmla="*/ 1366836 w 1447798"/>
                  <a:gd name="connsiteY6" fmla="*/ 114300 h 809626"/>
                  <a:gd name="connsiteX7" fmla="*/ 1085848 w 1447798"/>
                  <a:gd name="connsiteY7" fmla="*/ 114300 h 809626"/>
                  <a:gd name="connsiteX8" fmla="*/ 1085848 w 1447798"/>
                  <a:gd name="connsiteY8" fmla="*/ 0 h 809626"/>
                  <a:gd name="connsiteX9" fmla="*/ 681035 w 1447798"/>
                  <a:gd name="connsiteY9" fmla="*/ 0 h 809626"/>
                  <a:gd name="connsiteX10" fmla="*/ 308034 w 1447798"/>
                  <a:gd name="connsiteY10" fmla="*/ 247241 h 809626"/>
                  <a:gd name="connsiteX11" fmla="*/ 297558 w 1447798"/>
                  <a:gd name="connsiteY11" fmla="*/ 280988 h 809626"/>
                  <a:gd name="connsiteX12" fmla="*/ 123825 w 1447798"/>
                  <a:gd name="connsiteY12" fmla="*/ 280988 h 809626"/>
                  <a:gd name="connsiteX13" fmla="*/ 9730 w 1447798"/>
                  <a:gd name="connsiteY13" fmla="*/ 356615 h 809626"/>
                  <a:gd name="connsiteX14" fmla="*/ 0 w 1447798"/>
                  <a:gd name="connsiteY14" fmla="*/ 404813 h 809626"/>
                  <a:gd name="connsiteX15" fmla="*/ 9730 w 1447798"/>
                  <a:gd name="connsiteY15" fmla="*/ 453011 h 809626"/>
                  <a:gd name="connsiteX16" fmla="*/ 123825 w 1447798"/>
                  <a:gd name="connsiteY16" fmla="*/ 528637 h 809626"/>
                  <a:gd name="connsiteX17" fmla="*/ 297559 w 1447798"/>
                  <a:gd name="connsiteY17" fmla="*/ 528638 h 809626"/>
                  <a:gd name="connsiteX18" fmla="*/ 308034 w 1447798"/>
                  <a:gd name="connsiteY18" fmla="*/ 562385 h 809626"/>
                  <a:gd name="connsiteX19" fmla="*/ 681035 w 1447798"/>
                  <a:gd name="connsiteY19" fmla="*/ 809626 h 809626"/>
                  <a:gd name="connsiteX20" fmla="*/ 1085848 w 1447798"/>
                  <a:gd name="connsiteY20" fmla="*/ 809625 h 809626"/>
                  <a:gd name="connsiteX21" fmla="*/ 1085848 w 1447798"/>
                  <a:gd name="connsiteY21" fmla="*/ 695324 h 809626"/>
                  <a:gd name="connsiteX22" fmla="*/ 1366836 w 1447798"/>
                  <a:gd name="connsiteY22" fmla="*/ 695324 h 809626"/>
                  <a:gd name="connsiteX23" fmla="*/ 1447798 w 1447798"/>
                  <a:gd name="connsiteY23" fmla="*/ 614362 h 8096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447798" h="809626">
                    <a:moveTo>
                      <a:pt x="1447798" y="614362"/>
                    </a:moveTo>
                    <a:cubicBezTo>
                      <a:pt x="1447798" y="569648"/>
                      <a:pt x="1411550" y="533400"/>
                      <a:pt x="1366836" y="533400"/>
                    </a:cubicBezTo>
                    <a:lnTo>
                      <a:pt x="1085848" y="533400"/>
                    </a:lnTo>
                    <a:lnTo>
                      <a:pt x="1085848" y="276224"/>
                    </a:lnTo>
                    <a:lnTo>
                      <a:pt x="1366836" y="276224"/>
                    </a:lnTo>
                    <a:cubicBezTo>
                      <a:pt x="1411550" y="276224"/>
                      <a:pt x="1447798" y="239976"/>
                      <a:pt x="1447798" y="195262"/>
                    </a:cubicBezTo>
                    <a:cubicBezTo>
                      <a:pt x="1447798" y="150548"/>
                      <a:pt x="1411550" y="114300"/>
                      <a:pt x="1366836" y="114300"/>
                    </a:cubicBezTo>
                    <a:lnTo>
                      <a:pt x="1085848" y="114300"/>
                    </a:lnTo>
                    <a:lnTo>
                      <a:pt x="1085848" y="0"/>
                    </a:lnTo>
                    <a:lnTo>
                      <a:pt x="681035" y="0"/>
                    </a:lnTo>
                    <a:cubicBezTo>
                      <a:pt x="513356" y="0"/>
                      <a:pt x="369488" y="101948"/>
                      <a:pt x="308034" y="247241"/>
                    </a:cubicBezTo>
                    <a:lnTo>
                      <a:pt x="297558" y="280988"/>
                    </a:lnTo>
                    <a:lnTo>
                      <a:pt x="123825" y="280988"/>
                    </a:lnTo>
                    <a:cubicBezTo>
                      <a:pt x="72534" y="280988"/>
                      <a:pt x="28528" y="312172"/>
                      <a:pt x="9730" y="356615"/>
                    </a:cubicBezTo>
                    <a:lnTo>
                      <a:pt x="0" y="404813"/>
                    </a:lnTo>
                    <a:lnTo>
                      <a:pt x="9730" y="453011"/>
                    </a:lnTo>
                    <a:cubicBezTo>
                      <a:pt x="28528" y="497453"/>
                      <a:pt x="72534" y="528637"/>
                      <a:pt x="123825" y="528637"/>
                    </a:cubicBezTo>
                    <a:lnTo>
                      <a:pt x="297559" y="528638"/>
                    </a:lnTo>
                    <a:lnTo>
                      <a:pt x="308034" y="562385"/>
                    </a:lnTo>
                    <a:cubicBezTo>
                      <a:pt x="369488" y="707678"/>
                      <a:pt x="513356" y="809626"/>
                      <a:pt x="681035" y="809626"/>
                    </a:cubicBezTo>
                    <a:lnTo>
                      <a:pt x="1085848" y="809625"/>
                    </a:lnTo>
                    <a:lnTo>
                      <a:pt x="1085848" y="695324"/>
                    </a:lnTo>
                    <a:lnTo>
                      <a:pt x="1366836" y="695324"/>
                    </a:lnTo>
                    <a:cubicBezTo>
                      <a:pt x="1411550" y="695324"/>
                      <a:pt x="1447798" y="659076"/>
                      <a:pt x="1447798" y="61436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lIns="72000" tIns="72000" rIns="72000" bIns="72000" rtlCol="0" anchor="t" anchorCtr="0"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400"/>
                  </a:spcBef>
                </a:pPr>
                <a:endParaRPr lang="en-US" sz="1500" b="0" dirty="0"/>
              </a:p>
            </p:txBody>
          </p:sp>
          <p:cxnSp>
            <p:nvCxnSpPr>
              <p:cNvPr id="22" name="VerticalLine15">
                <a:extLst>
                  <a:ext uri="{FF2B5EF4-FFF2-40B4-BE49-F238E27FC236}">
                    <a16:creationId xmlns:a16="http://schemas.microsoft.com/office/drawing/2014/main" id="{F016F9DA-C6DA-4D48-8106-8100EB6DBCB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887200" y="630236"/>
                <a:ext cx="0" cy="6227764"/>
              </a:xfrm>
              <a:prstGeom prst="line">
                <a:avLst/>
              </a:prstGeom>
              <a:ln w="22225" cmpd="sng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23" name="Picture 2" descr="Image result for logo electrica">
            <a:extLst>
              <a:ext uri="{FF2B5EF4-FFF2-40B4-BE49-F238E27FC236}">
                <a16:creationId xmlns:a16="http://schemas.microsoft.com/office/drawing/2014/main" id="{A6AA877F-F203-4545-894A-467A6111CF1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382" y="6192000"/>
            <a:ext cx="1065223" cy="3745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76770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!!!Do not delete this th-style object!!!!" hidden="1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4" name="!!!Do not delete this th-style object!!!!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ADF034C4-9A4A-4837-8CBC-1C53671C74DF}"/>
              </a:ext>
            </a:extLst>
          </p:cNvPr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42" name="!!!Do not delete this text object!!!!_2" hidden="1"/>
          <p:cNvSpPr/>
          <p:nvPr/>
        </p:nvSpPr>
        <p:spPr>
          <a:xfrm>
            <a:off x="12271633" y="57955"/>
            <a:ext cx="39872" cy="32400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marL="0" marR="0" lvl="0" indent="0" algn="ctr" defTabSz="914400" rtl="0" eaLnBrk="1" fontAlgn="base" latinLnBrk="0" hangingPunct="1">
              <a:lnSpc>
                <a:spcPct val="93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t>1</a:t>
            </a:r>
          </a:p>
        </p:txBody>
      </p:sp>
      <p:sp>
        <p:nvSpPr>
          <p:cNvPr id="43" name="!!!Do not delete this text object!!!!" hidden="1"/>
          <p:cNvSpPr txBox="1"/>
          <p:nvPr/>
        </p:nvSpPr>
        <p:spPr>
          <a:xfrm>
            <a:off x="12271634" y="92737"/>
            <a:ext cx="585097" cy="30778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200" b="0" i="0" u="none" strike="noStrike" kern="1200" cap="none" spc="0" normalizeH="0" baseline="0" noProof="1">
                <a:ln>
                  <a:noFill/>
                </a:ln>
                <a:solidFill>
                  <a:srgbClr val="FFFFFF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t>A4_RBSC_PPT– 2013-10_v01 – do not delete this text object! </a:t>
            </a:r>
          </a:p>
        </p:txBody>
      </p:sp>
      <p:sp>
        <p:nvSpPr>
          <p:cNvPr id="52" name="Slide Number"/>
          <p:cNvSpPr txBox="1">
            <a:spLocks noChangeArrowheads="1"/>
          </p:cNvSpPr>
          <p:nvPr/>
        </p:nvSpPr>
        <p:spPr bwMode="auto">
          <a:xfrm>
            <a:off x="11323417" y="6710400"/>
            <a:ext cx="117020" cy="124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900" b="0" smtClean="0"/>
            </a:lvl1pPr>
          </a:lstStyle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AA7B471-74A3-4F5F-8955-6C99E2375CAC}" type="slidenum">
              <a:rPr kumimoji="0" lang="en-US" sz="900" b="0" i="0" u="none" strike="noStrike" kern="1200" cap="none" spc="0" normalizeH="0" baseline="0" noProof="1" dirty="0" smtClean="0">
                <a:ln>
                  <a:noFill/>
                </a:ln>
                <a:solidFill>
                  <a:srgbClr val="8D939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1">
              <a:ln>
                <a:noFill/>
              </a:ln>
              <a:solidFill>
                <a:srgbClr val="8D9399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53" name="Slide Number Line"/>
          <p:cNvSpPr>
            <a:spLocks noChangeShapeType="1"/>
          </p:cNvSpPr>
          <p:nvPr/>
        </p:nvSpPr>
        <p:spPr bwMode="auto">
          <a:xfrm>
            <a:off x="11180805" y="6710401"/>
            <a:ext cx="0" cy="123825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1">
              <a:ln>
                <a:noFill/>
              </a:ln>
              <a:solidFill>
                <a:srgbClr val="8D9399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57" name="Source" hidden="1"/>
          <p:cNvSpPr txBox="1"/>
          <p:nvPr/>
        </p:nvSpPr>
        <p:spPr>
          <a:xfrm>
            <a:off x="736600" y="6710121"/>
            <a:ext cx="496931" cy="124650"/>
          </a:xfrm>
          <a:prstGeom prst="rect">
            <a:avLst/>
          </a:prstGeom>
          <a:noFill/>
          <a:ln w="9525">
            <a:noFill/>
          </a:ln>
        </p:spPr>
        <p:txBody>
          <a:bodyPr vert="horz" wrap="none" lIns="0" tIns="0" rIns="0" bIns="0" rtlCol="0" anchor="b" anchorCtr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t>Source: xxx</a:t>
            </a:r>
          </a:p>
        </p:txBody>
      </p:sp>
      <p:sp>
        <p:nvSpPr>
          <p:cNvPr id="56" name="Notes" hidden="1"/>
          <p:cNvSpPr txBox="1"/>
          <p:nvPr/>
        </p:nvSpPr>
        <p:spPr>
          <a:xfrm>
            <a:off x="1412874" y="6417475"/>
            <a:ext cx="280526" cy="138499"/>
          </a:xfrm>
          <a:prstGeom prst="rect">
            <a:avLst/>
          </a:prstGeom>
          <a:noFill/>
          <a:ln w="9525">
            <a:noFill/>
          </a:ln>
        </p:spPr>
        <p:txBody>
          <a:bodyPr vert="horz" wrap="none" lIns="0" tIns="0" rIns="0" bIns="0" rtlCol="0" anchor="b" anchorCtr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t>1) xxx</a:t>
            </a:r>
          </a:p>
        </p:txBody>
      </p:sp>
      <p:grpSp>
        <p:nvGrpSpPr>
          <p:cNvPr id="5" name="Legend" hidden="1"/>
          <p:cNvGrpSpPr/>
          <p:nvPr/>
        </p:nvGrpSpPr>
        <p:grpSpPr>
          <a:xfrm>
            <a:off x="736598" y="6195259"/>
            <a:ext cx="646288" cy="146050"/>
            <a:chOff x="792825" y="6195259"/>
            <a:chExt cx="525178" cy="146050"/>
          </a:xfrm>
        </p:grpSpPr>
        <p:sp>
          <p:nvSpPr>
            <p:cNvPr id="49" name="LegendIcon"/>
            <p:cNvSpPr/>
            <p:nvPr/>
          </p:nvSpPr>
          <p:spPr>
            <a:xfrm>
              <a:off x="792825" y="6195259"/>
              <a:ext cx="176732" cy="146050"/>
            </a:xfrm>
            <a:prstGeom prst="rect">
              <a:avLst/>
            </a:prstGeom>
            <a:solidFill>
              <a:schemeClr val="accent2"/>
            </a:solidFill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0" name="LegendText"/>
            <p:cNvSpPr txBox="1"/>
            <p:nvPr/>
          </p:nvSpPr>
          <p:spPr>
            <a:xfrm>
              <a:off x="1036639" y="6196726"/>
              <a:ext cx="281364" cy="138499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none" lIns="0" tIns="0" rIns="0" bIns="0" rtlCol="0" anchor="t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  <a:sym typeface="+mn-lt"/>
                </a:rPr>
                <a:t>Legend</a:t>
              </a:r>
            </a:p>
          </p:txBody>
        </p:sp>
      </p:grpSp>
      <p:sp>
        <p:nvSpPr>
          <p:cNvPr id="45" name="Formatted_text" hidden="1"/>
          <p:cNvSpPr txBox="1">
            <a:spLocks/>
          </p:cNvSpPr>
          <p:nvPr/>
        </p:nvSpPr>
        <p:spPr>
          <a:xfrm>
            <a:off x="736599" y="2158953"/>
            <a:ext cx="2436606" cy="1038233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t>15 Point Text: Level 0</a:t>
            </a:r>
            <a:endParaRPr kumimoji="0" lang="en-US" sz="15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  <a:p>
            <a:pPr marL="164571" marR="0" lvl="1" indent="-164571" algn="l" defTabSz="914400" rtl="0" eaLnBrk="1" fontAlgn="base" latinLnBrk="0" hangingPunct="1">
              <a:lnSpc>
                <a:spcPct val="90000"/>
              </a:lnSpc>
              <a:spcBef>
                <a:spcPts val="8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 Narrow"/>
              <a:buChar char="&gt;"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t>Level 1</a:t>
            </a:r>
          </a:p>
          <a:p>
            <a:pPr marL="344571" marR="0" lvl="2" indent="-167142" algn="l" defTabSz="9144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 Narrow"/>
              <a:buChar char="–"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t>Level 2</a:t>
            </a:r>
          </a:p>
          <a:p>
            <a:pPr marL="498857" marR="0" lvl="3" indent="-144000" algn="l" defTabSz="914400" rtl="0" eaLnBrk="1" fontAlgn="base" latinLnBrk="0" hangingPunct="1">
              <a:lnSpc>
                <a:spcPct val="90000"/>
              </a:lnSpc>
              <a:spcBef>
                <a:spcPts val="2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 Narrow"/>
              <a:buChar char="-"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t>Level 3</a:t>
            </a:r>
          </a:p>
        </p:txBody>
      </p:sp>
      <p:sp>
        <p:nvSpPr>
          <p:cNvPr id="51" name="Subtitle" hidden="1"/>
          <p:cNvSpPr txBox="1">
            <a:spLocks/>
          </p:cNvSpPr>
          <p:nvPr/>
        </p:nvSpPr>
        <p:spPr>
          <a:xfrm>
            <a:off x="738000" y="1710001"/>
            <a:ext cx="10792808" cy="23544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700" b="0" i="0" u="none" strike="noStrike" kern="1200" cap="none" spc="0" normalizeH="0" baseline="0" noProof="0" dirty="0">
                <a:ln>
                  <a:noFill/>
                </a:ln>
                <a:solidFill>
                  <a:srgbClr val="8D939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t>Subtitle</a:t>
            </a:r>
          </a:p>
        </p:txBody>
      </p: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738000" y="1710000"/>
            <a:ext cx="10792808" cy="117262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 – Level 0</a:t>
            </a:r>
          </a:p>
          <a:p>
            <a:pPr lvl="1"/>
            <a:r>
              <a:rPr lang="en-US" dirty="0"/>
              <a:t>Level 1</a:t>
            </a:r>
          </a:p>
          <a:p>
            <a:pPr lvl="2"/>
            <a:r>
              <a:rPr lang="en-US" dirty="0"/>
              <a:t>Level 2</a:t>
            </a:r>
          </a:p>
          <a:p>
            <a:pPr lvl="3"/>
            <a:r>
              <a:rPr lang="en-US" dirty="0"/>
              <a:t>Level 3</a:t>
            </a:r>
          </a:p>
        </p:txBody>
      </p:sp>
      <p:sp>
        <p:nvSpPr>
          <p:cNvPr id="2" name="Title Placeholder"/>
          <p:cNvSpPr>
            <a:spLocks noGrp="1"/>
          </p:cNvSpPr>
          <p:nvPr>
            <p:ph type="title"/>
          </p:nvPr>
        </p:nvSpPr>
        <p:spPr>
          <a:xfrm>
            <a:off x="738000" y="666000"/>
            <a:ext cx="10792808" cy="8604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pic>
        <p:nvPicPr>
          <p:cNvPr id="17" name="Picture 2" descr="Image result for logo electrica">
            <a:extLst>
              <a:ext uri="{FF2B5EF4-FFF2-40B4-BE49-F238E27FC236}">
                <a16:creationId xmlns:a16="http://schemas.microsoft.com/office/drawing/2014/main" id="{523CEA33-98E8-4501-A020-C75DFB3C423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382" y="6192000"/>
            <a:ext cx="1065223" cy="3745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4792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59" r:id="rId1"/>
    <p:sldLayoutId id="2147484760" r:id="rId2"/>
    <p:sldLayoutId id="2147484761" r:id="rId3"/>
    <p:sldLayoutId id="2147484762" r:id="rId4"/>
    <p:sldLayoutId id="2147484763" r:id="rId5"/>
    <p:sldLayoutId id="2147484764" r:id="rId6"/>
    <p:sldLayoutId id="2147484765" r:id="rId7"/>
    <p:sldLayoutId id="2147484753" r:id="rId8"/>
    <p:sldLayoutId id="2147484754" r:id="rId9"/>
    <p:sldLayoutId id="2147484755" r:id="rId1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2700" b="0" kern="1200" baseline="0" dirty="0">
          <a:solidFill>
            <a:srgbClr val="007FBD"/>
          </a:solidFill>
          <a:latin typeface="+mj-lt"/>
          <a:ea typeface="+mj-ea"/>
          <a:cs typeface="+mj-cs"/>
          <a:sym typeface="+mn-lt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0"/>
        </a:spcBef>
        <a:buFont typeface="Arial Narrow" pitchFamily="34" charset="0"/>
        <a:buNone/>
        <a:defRPr lang="en-US" sz="1700" b="0" i="0" kern="1200" baseline="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230400" indent="-230400" algn="l" defTabSz="914400" rtl="0" eaLnBrk="1" latinLnBrk="0" hangingPunct="1">
        <a:lnSpc>
          <a:spcPct val="90000"/>
        </a:lnSpc>
        <a:spcBef>
          <a:spcPts val="1200"/>
        </a:spcBef>
        <a:buFont typeface="Arial" panose="020B0604020202020204" pitchFamily="34" charset="0"/>
        <a:buChar char="•"/>
        <a:defRPr lang="en-US" sz="1700" b="0" kern="120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482400" indent="-234000" algn="l" defTabSz="914400" rtl="0" eaLnBrk="1" latinLnBrk="0" hangingPunct="1">
        <a:lnSpc>
          <a:spcPct val="90000"/>
        </a:lnSpc>
        <a:spcBef>
          <a:spcPts val="400"/>
        </a:spcBef>
        <a:buFont typeface="Arial Narrow" pitchFamily="34" charset="0"/>
        <a:buChar char="–"/>
        <a:defRPr lang="en-US" sz="1700" b="0" kern="120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698400" indent="-201600" algn="l" defTabSz="914400" rtl="0" eaLnBrk="1" latinLnBrk="0" hangingPunct="1">
        <a:lnSpc>
          <a:spcPct val="90000"/>
        </a:lnSpc>
        <a:spcBef>
          <a:spcPts val="200"/>
        </a:spcBef>
        <a:buFont typeface="Arial Narrow" pitchFamily="34" charset="0"/>
        <a:buChar char="-"/>
        <a:defRPr lang="en-US" sz="1700" b="0" kern="1200" dirty="0">
          <a:solidFill>
            <a:schemeClr val="tx1"/>
          </a:solidFill>
          <a:latin typeface="+mn-lt"/>
          <a:ea typeface="+mn-ea"/>
          <a:cs typeface="+mn-cs"/>
          <a:sym typeface="+mn-lt"/>
        </a:defRPr>
      </a:lvl4pPr>
      <a:lvl5pPr marL="698400" indent="0" algn="l" defTabSz="914400" rtl="0" eaLnBrk="1" latinLnBrk="0" hangingPunct="1">
        <a:lnSpc>
          <a:spcPct val="93000"/>
        </a:lnSpc>
        <a:spcBef>
          <a:spcPts val="0"/>
        </a:spcBef>
        <a:buFont typeface="Arial Narrow" pitchFamily="34" charset="0"/>
        <a:buNone/>
        <a:defRPr sz="1700" kern="1200">
          <a:solidFill>
            <a:schemeClr val="tx1"/>
          </a:solidFill>
          <a:latin typeface="Arial Narrow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 Narrow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 Narrow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 Narrow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 Narrow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638425" y="5566213"/>
            <a:ext cx="8482529" cy="884070"/>
          </a:xfrm>
          <a:solidFill>
            <a:srgbClr val="007FBD"/>
          </a:solidFill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tIns="72000" bIns="72000" anchor="ctr"/>
          <a:lstStyle/>
          <a:p>
            <a:pPr>
              <a:lnSpc>
                <a:spcPct val="100000"/>
              </a:lnSpc>
            </a:pPr>
            <a:r>
              <a:rPr lang="ro-RO" sz="2400" dirty="0">
                <a:solidFill>
                  <a:schemeClr val="bg1"/>
                </a:solidFill>
              </a:rPr>
              <a:t>Proiect</a:t>
            </a:r>
            <a:r>
              <a:rPr lang="en-US" sz="2400" dirty="0">
                <a:solidFill>
                  <a:schemeClr val="bg1"/>
                </a:solidFill>
              </a:rPr>
              <a:t> E-mobility: </a:t>
            </a:r>
            <a:r>
              <a:rPr lang="en-US" sz="2400" dirty="0" err="1">
                <a:solidFill>
                  <a:schemeClr val="bg1"/>
                </a:solidFill>
              </a:rPr>
              <a:t>dezvoltarea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unei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retele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proprii</a:t>
            </a:r>
            <a:r>
              <a:rPr lang="en-US" sz="2400" dirty="0">
                <a:solidFill>
                  <a:schemeClr val="bg1"/>
                </a:solidFill>
              </a:rPr>
              <a:t> de </a:t>
            </a:r>
            <a:r>
              <a:rPr lang="en-US" sz="2400" dirty="0" err="1">
                <a:solidFill>
                  <a:schemeClr val="bg1"/>
                </a:solidFill>
              </a:rPr>
              <a:t>incarcare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vehicule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electrice</a:t>
            </a:r>
            <a:endParaRPr lang="ro-RO" sz="2400" dirty="0">
              <a:solidFill>
                <a:schemeClr val="bg1"/>
              </a:solidFill>
            </a:endParaRP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1940DDA-0656-452C-A408-68789653BD9B}" type="slidenum">
              <a:rPr kumimoji="0" lang="en-US" sz="2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10" name="Text Placeholder 1"/>
          <p:cNvSpPr txBox="1">
            <a:spLocks/>
          </p:cNvSpPr>
          <p:nvPr/>
        </p:nvSpPr>
        <p:spPr>
          <a:xfrm>
            <a:off x="117934" y="5566213"/>
            <a:ext cx="1903049" cy="365642"/>
          </a:xfrm>
          <a:prstGeom prst="rect">
            <a:avLst/>
          </a:prstGeom>
        </p:spPr>
        <p:txBody>
          <a:bodyPr vert="horz" wrap="square" lIns="36000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 Narrow" pitchFamily="34" charset="0"/>
              <a:buNone/>
              <a:defRPr lang="en-US" sz="1700" b="0" i="0" kern="12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30400" indent="-2304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lang="en-US" sz="1700" b="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482400" indent="-2340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 Narrow" pitchFamily="34" charset="0"/>
              <a:buChar char="–"/>
              <a:defRPr lang="en-US" sz="1700" b="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698400" indent="-201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 Narrow" pitchFamily="34" charset="0"/>
              <a:buChar char="-"/>
              <a:defRPr lang="en-US" sz="1700" b="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69840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 Narrow" pitchFamily="34" charset="0"/>
              <a:buNone/>
              <a:defRPr sz="17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lnSpc>
                <a:spcPct val="100000"/>
              </a:lnSpc>
              <a:spcAft>
                <a:spcPts val="0"/>
              </a:spcAft>
            </a:pPr>
            <a:r>
              <a:rPr lang="ro-RO" sz="2400" dirty="0">
                <a:solidFill>
                  <a:srgbClr val="007FBD"/>
                </a:solidFill>
              </a:rPr>
              <a:t>1</a:t>
            </a:r>
            <a:r>
              <a:rPr lang="en-US" sz="2400" dirty="0">
                <a:solidFill>
                  <a:srgbClr val="007FBD"/>
                </a:solidFill>
              </a:rPr>
              <a:t>6</a:t>
            </a:r>
            <a:r>
              <a:rPr lang="ro-RO" sz="2400" dirty="0">
                <a:solidFill>
                  <a:srgbClr val="007FBD"/>
                </a:solidFill>
              </a:rPr>
              <a:t>.05.202</a:t>
            </a:r>
            <a:r>
              <a:rPr lang="en-US" sz="2400" dirty="0">
                <a:solidFill>
                  <a:srgbClr val="007FBD"/>
                </a:solidFill>
              </a:rPr>
              <a:t>1</a:t>
            </a:r>
            <a:r>
              <a:rPr lang="ro-RO" sz="2400" dirty="0">
                <a:solidFill>
                  <a:srgbClr val="007FBD"/>
                </a:solidFill>
              </a:rPr>
              <a:t> </a:t>
            </a:r>
          </a:p>
        </p:txBody>
      </p:sp>
      <p:pic>
        <p:nvPicPr>
          <p:cNvPr id="7" name="Picture 4">
            <a:extLst>
              <a:ext uri="{FF2B5EF4-FFF2-40B4-BE49-F238E27FC236}">
                <a16:creationId xmlns:a16="http://schemas.microsoft.com/office/drawing/2014/main" id="{D0B84F31-B745-487D-ABEB-89252C23F44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8425" y="223051"/>
            <a:ext cx="8482528" cy="5038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64336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82812" y="272595"/>
            <a:ext cx="10440000" cy="430200"/>
          </a:xfrm>
        </p:spPr>
        <p:txBody>
          <a:bodyPr/>
          <a:lstStyle/>
          <a:p>
            <a:r>
              <a:rPr lang="en-US" b="1" dirty="0" err="1"/>
              <a:t>Electromobilitatea</a:t>
            </a:r>
            <a:r>
              <a:rPr lang="en-US" b="1" dirty="0"/>
              <a:t>: </a:t>
            </a:r>
            <a:r>
              <a:rPr lang="en-US" b="1" dirty="0" err="1"/>
              <a:t>Trenduri</a:t>
            </a:r>
            <a:r>
              <a:rPr lang="en-US" b="1" dirty="0"/>
              <a:t> de </a:t>
            </a:r>
            <a:r>
              <a:rPr lang="en-US" b="1" dirty="0" err="1"/>
              <a:t>piata</a:t>
            </a:r>
            <a:r>
              <a:rPr lang="en-US" b="1" dirty="0"/>
              <a:t> cu focus pe 2020 – 1/2 </a:t>
            </a:r>
            <a:endParaRPr lang="ro-RO" b="1" dirty="0"/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4294967295"/>
          </p:nvPr>
        </p:nvSpPr>
        <p:spPr>
          <a:xfrm>
            <a:off x="1041991" y="5232773"/>
            <a:ext cx="10515600" cy="1446550"/>
          </a:xfrm>
          <a:prstGeom prst="rect">
            <a:avLst/>
          </a:prstGeom>
        </p:spPr>
        <p:txBody>
          <a:bodyPr/>
          <a:lstStyle/>
          <a:p>
            <a:pPr algn="just">
              <a:lnSpc>
                <a:spcPct val="100000"/>
              </a:lnSpc>
              <a:spcAft>
                <a:spcPts val="1200"/>
              </a:spcAft>
            </a:pPr>
            <a:r>
              <a:rPr lang="en-US" sz="1600" i="1" dirty="0">
                <a:solidFill>
                  <a:srgbClr val="007FBD"/>
                </a:solidFill>
              </a:rPr>
              <a:t>In </a:t>
            </a:r>
            <a:r>
              <a:rPr lang="en-US" sz="1600" i="1" dirty="0" err="1">
                <a:solidFill>
                  <a:srgbClr val="007FBD"/>
                </a:solidFill>
              </a:rPr>
              <a:t>ciuda</a:t>
            </a:r>
            <a:r>
              <a:rPr lang="en-US" sz="1600" i="1" dirty="0">
                <a:solidFill>
                  <a:srgbClr val="007FBD"/>
                </a:solidFill>
              </a:rPr>
              <a:t> </a:t>
            </a:r>
            <a:r>
              <a:rPr lang="en-US" sz="1600" i="1" dirty="0" err="1">
                <a:solidFill>
                  <a:srgbClr val="007FBD"/>
                </a:solidFill>
              </a:rPr>
              <a:t>impactului</a:t>
            </a:r>
            <a:r>
              <a:rPr lang="en-US" sz="1600" i="1" dirty="0">
                <a:solidFill>
                  <a:srgbClr val="007FBD"/>
                </a:solidFill>
              </a:rPr>
              <a:t> COVID, la </a:t>
            </a:r>
            <a:r>
              <a:rPr lang="en-US" sz="1600" i="1" dirty="0" err="1">
                <a:solidFill>
                  <a:srgbClr val="007FBD"/>
                </a:solidFill>
              </a:rPr>
              <a:t>nivel</a:t>
            </a:r>
            <a:r>
              <a:rPr lang="en-US" sz="1600" i="1" dirty="0">
                <a:solidFill>
                  <a:srgbClr val="007FBD"/>
                </a:solidFill>
              </a:rPr>
              <a:t> European se </a:t>
            </a:r>
            <a:r>
              <a:rPr lang="en-US" sz="1600" i="1" dirty="0" err="1">
                <a:solidFill>
                  <a:srgbClr val="007FBD"/>
                </a:solidFill>
              </a:rPr>
              <a:t>inregistreaza</a:t>
            </a:r>
            <a:r>
              <a:rPr lang="en-US" sz="1600" i="1" dirty="0">
                <a:solidFill>
                  <a:srgbClr val="007FBD"/>
                </a:solidFill>
              </a:rPr>
              <a:t> o </a:t>
            </a:r>
            <a:r>
              <a:rPr lang="en-US" sz="1600" i="1" dirty="0" err="1">
                <a:solidFill>
                  <a:srgbClr val="007FBD"/>
                </a:solidFill>
              </a:rPr>
              <a:t>crestere</a:t>
            </a:r>
            <a:r>
              <a:rPr lang="en-US" sz="1600" i="1" dirty="0">
                <a:solidFill>
                  <a:srgbClr val="007FBD"/>
                </a:solidFill>
              </a:rPr>
              <a:t> majora a </a:t>
            </a:r>
            <a:r>
              <a:rPr lang="en-US" sz="1600" i="1" dirty="0" err="1">
                <a:solidFill>
                  <a:srgbClr val="007FBD"/>
                </a:solidFill>
              </a:rPr>
              <a:t>vanzarilor</a:t>
            </a:r>
            <a:r>
              <a:rPr lang="en-US" sz="1600" i="1" dirty="0">
                <a:solidFill>
                  <a:srgbClr val="007FBD"/>
                </a:solidFill>
              </a:rPr>
              <a:t> de </a:t>
            </a:r>
            <a:r>
              <a:rPr lang="en-US" sz="1600" i="1" dirty="0" err="1">
                <a:solidFill>
                  <a:srgbClr val="007FBD"/>
                </a:solidFill>
              </a:rPr>
              <a:t>autoturisme</a:t>
            </a:r>
            <a:r>
              <a:rPr lang="en-US" sz="1600" i="1" dirty="0">
                <a:solidFill>
                  <a:srgbClr val="007FBD"/>
                </a:solidFill>
              </a:rPr>
              <a:t> </a:t>
            </a:r>
            <a:r>
              <a:rPr lang="en-US" sz="1600" i="1" dirty="0" err="1">
                <a:solidFill>
                  <a:srgbClr val="007FBD"/>
                </a:solidFill>
              </a:rPr>
              <a:t>electrice</a:t>
            </a:r>
            <a:endParaRPr lang="en-US" sz="1600" i="1" dirty="0">
              <a:solidFill>
                <a:srgbClr val="007FBD"/>
              </a:solidFill>
            </a:endParaRPr>
          </a:p>
          <a:p>
            <a:pPr algn="just">
              <a:lnSpc>
                <a:spcPct val="100000"/>
              </a:lnSpc>
              <a:spcAft>
                <a:spcPts val="1200"/>
              </a:spcAft>
            </a:pPr>
            <a:r>
              <a:rPr lang="en-US" sz="1600" dirty="0">
                <a:solidFill>
                  <a:srgbClr val="007FBD"/>
                </a:solidFill>
              </a:rPr>
              <a:t>In Romania se </a:t>
            </a:r>
            <a:r>
              <a:rPr lang="en-US" sz="1600" dirty="0" err="1">
                <a:solidFill>
                  <a:srgbClr val="007FBD"/>
                </a:solidFill>
              </a:rPr>
              <a:t>inregistreaza</a:t>
            </a:r>
            <a:r>
              <a:rPr lang="en-US" sz="1600" dirty="0">
                <a:solidFill>
                  <a:srgbClr val="007FBD"/>
                </a:solidFill>
              </a:rPr>
              <a:t> o </a:t>
            </a:r>
            <a:r>
              <a:rPr lang="en-US" sz="1600" dirty="0" err="1">
                <a:solidFill>
                  <a:srgbClr val="007FBD"/>
                </a:solidFill>
              </a:rPr>
              <a:t>crestere</a:t>
            </a:r>
            <a:r>
              <a:rPr lang="en-US" sz="1600" dirty="0">
                <a:solidFill>
                  <a:srgbClr val="007FBD"/>
                </a:solidFill>
              </a:rPr>
              <a:t> de </a:t>
            </a:r>
            <a:r>
              <a:rPr lang="en-US" sz="1600" dirty="0" err="1">
                <a:solidFill>
                  <a:srgbClr val="007FBD"/>
                </a:solidFill>
              </a:rPr>
              <a:t>cca</a:t>
            </a:r>
            <a:r>
              <a:rPr lang="en-US" sz="1600" dirty="0">
                <a:solidFill>
                  <a:srgbClr val="007FBD"/>
                </a:solidFill>
              </a:rPr>
              <a:t> 185% fata de </a:t>
            </a:r>
            <a:r>
              <a:rPr lang="en-US" sz="1600" dirty="0" err="1">
                <a:solidFill>
                  <a:srgbClr val="007FBD"/>
                </a:solidFill>
              </a:rPr>
              <a:t>anul</a:t>
            </a:r>
            <a:r>
              <a:rPr lang="en-US" sz="1600" dirty="0">
                <a:solidFill>
                  <a:srgbClr val="007FBD"/>
                </a:solidFill>
              </a:rPr>
              <a:t> 2019</a:t>
            </a:r>
          </a:p>
          <a:p>
            <a:pPr algn="just">
              <a:lnSpc>
                <a:spcPct val="100000"/>
              </a:lnSpc>
              <a:spcAft>
                <a:spcPts val="1200"/>
              </a:spcAft>
            </a:pPr>
            <a:endParaRPr lang="en-US" sz="1600" dirty="0">
              <a:solidFill>
                <a:srgbClr val="007FBD"/>
              </a:solidFill>
            </a:endParaRPr>
          </a:p>
          <a:p>
            <a:pPr algn="just">
              <a:lnSpc>
                <a:spcPct val="100000"/>
              </a:lnSpc>
              <a:spcAft>
                <a:spcPts val="1200"/>
              </a:spcAft>
            </a:pPr>
            <a:r>
              <a:rPr lang="en-US" sz="1600" i="1" dirty="0">
                <a:solidFill>
                  <a:srgbClr val="007FBD"/>
                </a:solidFill>
              </a:rPr>
              <a:t>	</a:t>
            </a:r>
            <a:r>
              <a:rPr lang="en-US" sz="1600" i="1" dirty="0" err="1">
                <a:solidFill>
                  <a:srgbClr val="007FBD"/>
                </a:solidFill>
              </a:rPr>
              <a:t>Surse</a:t>
            </a:r>
            <a:r>
              <a:rPr lang="en-US" sz="1600" i="1" dirty="0">
                <a:solidFill>
                  <a:srgbClr val="007FBD"/>
                </a:solidFill>
              </a:rPr>
              <a:t>: IEA EV global Outlook 2021; Romanian E-mobility index 2021-RB</a:t>
            </a:r>
            <a:endParaRPr lang="ro-RO" sz="1600" i="1" dirty="0">
              <a:solidFill>
                <a:srgbClr val="007FBD"/>
              </a:solidFill>
            </a:endParaRPr>
          </a:p>
        </p:txBody>
      </p:sp>
      <p:pic>
        <p:nvPicPr>
          <p:cNvPr id="3" name="Imagine 2">
            <a:extLst>
              <a:ext uri="{FF2B5EF4-FFF2-40B4-BE49-F238E27FC236}">
                <a16:creationId xmlns:a16="http://schemas.microsoft.com/office/drawing/2014/main" id="{3366EA0D-DFB1-4C3F-AC04-F591BC26331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76966" y="702795"/>
            <a:ext cx="8451691" cy="4529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6309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82812" y="272595"/>
            <a:ext cx="10440000" cy="430200"/>
          </a:xfrm>
        </p:spPr>
        <p:txBody>
          <a:bodyPr/>
          <a:lstStyle/>
          <a:p>
            <a:r>
              <a:rPr lang="en-US" b="1" dirty="0" err="1"/>
              <a:t>Electromobilitatea</a:t>
            </a:r>
            <a:r>
              <a:rPr lang="en-US" b="1" dirty="0"/>
              <a:t>: </a:t>
            </a:r>
            <a:r>
              <a:rPr lang="en-US" b="1" dirty="0" err="1"/>
              <a:t>Trenduri</a:t>
            </a:r>
            <a:r>
              <a:rPr lang="en-US" b="1" dirty="0"/>
              <a:t> de </a:t>
            </a:r>
            <a:r>
              <a:rPr lang="en-US" b="1" dirty="0" err="1"/>
              <a:t>piata</a:t>
            </a:r>
            <a:r>
              <a:rPr lang="en-US" b="1" dirty="0"/>
              <a:t> cu focus pe 2020 – 2/2 </a:t>
            </a:r>
            <a:endParaRPr lang="ro-RO" b="1" dirty="0"/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4294967295"/>
          </p:nvPr>
        </p:nvSpPr>
        <p:spPr>
          <a:xfrm>
            <a:off x="1117591" y="5063766"/>
            <a:ext cx="10515600" cy="1692771"/>
          </a:xfrm>
          <a:prstGeom prst="rect">
            <a:avLst/>
          </a:prstGeom>
        </p:spPr>
        <p:txBody>
          <a:bodyPr/>
          <a:lstStyle/>
          <a:p>
            <a:pPr algn="just">
              <a:lnSpc>
                <a:spcPct val="100000"/>
              </a:lnSpc>
              <a:spcAft>
                <a:spcPts val="1200"/>
              </a:spcAft>
            </a:pPr>
            <a:r>
              <a:rPr lang="en-US" sz="1600" i="1" dirty="0" err="1">
                <a:solidFill>
                  <a:srgbClr val="007FBD"/>
                </a:solidFill>
              </a:rPr>
              <a:t>Evolutia</a:t>
            </a:r>
            <a:r>
              <a:rPr lang="en-US" sz="1600" i="1" dirty="0">
                <a:solidFill>
                  <a:srgbClr val="007FBD"/>
                </a:solidFill>
              </a:rPr>
              <a:t> </a:t>
            </a:r>
            <a:r>
              <a:rPr lang="en-US" sz="1600" i="1" dirty="0" err="1">
                <a:solidFill>
                  <a:srgbClr val="007FBD"/>
                </a:solidFill>
              </a:rPr>
              <a:t>infrastructurii</a:t>
            </a:r>
            <a:r>
              <a:rPr lang="en-US" sz="1600" i="1" dirty="0">
                <a:solidFill>
                  <a:srgbClr val="007FBD"/>
                </a:solidFill>
              </a:rPr>
              <a:t> </a:t>
            </a:r>
            <a:r>
              <a:rPr lang="en-US" sz="1600" i="1" dirty="0" err="1">
                <a:solidFill>
                  <a:srgbClr val="007FBD"/>
                </a:solidFill>
              </a:rPr>
              <a:t>publice</a:t>
            </a:r>
            <a:r>
              <a:rPr lang="en-US" sz="1600" i="1" dirty="0">
                <a:solidFill>
                  <a:srgbClr val="007FBD"/>
                </a:solidFill>
              </a:rPr>
              <a:t> de </a:t>
            </a:r>
            <a:r>
              <a:rPr lang="en-US" sz="1600" i="1" dirty="0" err="1">
                <a:solidFill>
                  <a:srgbClr val="007FBD"/>
                </a:solidFill>
              </a:rPr>
              <a:t>incarcare</a:t>
            </a:r>
            <a:r>
              <a:rPr lang="en-US" sz="1600" i="1" dirty="0">
                <a:solidFill>
                  <a:srgbClr val="007FBD"/>
                </a:solidFill>
              </a:rPr>
              <a:t> </a:t>
            </a:r>
            <a:r>
              <a:rPr lang="en-US" sz="1600" i="1" dirty="0" err="1">
                <a:solidFill>
                  <a:srgbClr val="007FBD"/>
                </a:solidFill>
              </a:rPr>
              <a:t>vehicule</a:t>
            </a:r>
            <a:r>
              <a:rPr lang="en-US" sz="1600" i="1" dirty="0">
                <a:solidFill>
                  <a:srgbClr val="007FBD"/>
                </a:solidFill>
              </a:rPr>
              <a:t> </a:t>
            </a:r>
            <a:r>
              <a:rPr lang="en-US" sz="1600" i="1" dirty="0" err="1">
                <a:solidFill>
                  <a:srgbClr val="007FBD"/>
                </a:solidFill>
              </a:rPr>
              <a:t>electrice</a:t>
            </a:r>
            <a:r>
              <a:rPr lang="en-US" sz="1600" i="1" dirty="0">
                <a:solidFill>
                  <a:srgbClr val="007FBD"/>
                </a:solidFill>
              </a:rPr>
              <a:t> la </a:t>
            </a:r>
            <a:r>
              <a:rPr lang="en-US" sz="1600" i="1" dirty="0" err="1">
                <a:solidFill>
                  <a:srgbClr val="007FBD"/>
                </a:solidFill>
              </a:rPr>
              <a:t>nivel</a:t>
            </a:r>
            <a:r>
              <a:rPr lang="en-US" sz="1600" i="1" dirty="0">
                <a:solidFill>
                  <a:srgbClr val="007FBD"/>
                </a:solidFill>
              </a:rPr>
              <a:t> global</a:t>
            </a:r>
          </a:p>
          <a:p>
            <a:pPr algn="just">
              <a:lnSpc>
                <a:spcPct val="100000"/>
              </a:lnSpc>
              <a:spcAft>
                <a:spcPts val="1200"/>
              </a:spcAft>
            </a:pPr>
            <a:r>
              <a:rPr lang="en-US" sz="1600" i="1" dirty="0">
                <a:solidFill>
                  <a:srgbClr val="007FBD"/>
                </a:solidFill>
              </a:rPr>
              <a:t>In Romania se </a:t>
            </a:r>
            <a:r>
              <a:rPr lang="en-US" sz="1600" i="1" dirty="0" err="1">
                <a:solidFill>
                  <a:srgbClr val="007FBD"/>
                </a:solidFill>
              </a:rPr>
              <a:t>inregistreaza</a:t>
            </a:r>
            <a:r>
              <a:rPr lang="en-US" sz="1600" i="1" dirty="0">
                <a:solidFill>
                  <a:srgbClr val="007FBD"/>
                </a:solidFill>
              </a:rPr>
              <a:t> un total </a:t>
            </a:r>
            <a:r>
              <a:rPr lang="en-US" sz="1600" i="1" dirty="0" err="1">
                <a:solidFill>
                  <a:srgbClr val="007FBD"/>
                </a:solidFill>
              </a:rPr>
              <a:t>cumulat</a:t>
            </a:r>
            <a:r>
              <a:rPr lang="en-US" sz="1600" i="1" dirty="0">
                <a:solidFill>
                  <a:srgbClr val="007FBD"/>
                </a:solidFill>
              </a:rPr>
              <a:t> de </a:t>
            </a:r>
            <a:r>
              <a:rPr lang="en-US" sz="1600" i="1" dirty="0" err="1">
                <a:solidFill>
                  <a:srgbClr val="007FBD"/>
                </a:solidFill>
              </a:rPr>
              <a:t>doar</a:t>
            </a:r>
            <a:r>
              <a:rPr lang="en-US" sz="1600" i="1" dirty="0">
                <a:solidFill>
                  <a:srgbClr val="007FBD"/>
                </a:solidFill>
              </a:rPr>
              <a:t> </a:t>
            </a:r>
            <a:r>
              <a:rPr lang="en-US" sz="1600" i="1" dirty="0" err="1">
                <a:solidFill>
                  <a:srgbClr val="007FBD"/>
                </a:solidFill>
              </a:rPr>
              <a:t>cca</a:t>
            </a:r>
            <a:r>
              <a:rPr lang="en-US" sz="1600" i="1" dirty="0">
                <a:solidFill>
                  <a:srgbClr val="007FBD"/>
                </a:solidFill>
              </a:rPr>
              <a:t> 650 de </a:t>
            </a:r>
            <a:r>
              <a:rPr lang="en-US" sz="1600" i="1" dirty="0" err="1">
                <a:solidFill>
                  <a:srgbClr val="007FBD"/>
                </a:solidFill>
              </a:rPr>
              <a:t>statii</a:t>
            </a:r>
            <a:r>
              <a:rPr lang="en-US" sz="1600" i="1" dirty="0">
                <a:solidFill>
                  <a:srgbClr val="007FBD"/>
                </a:solidFill>
              </a:rPr>
              <a:t> din care </a:t>
            </a:r>
            <a:r>
              <a:rPr lang="en-US" sz="1600" i="1" dirty="0" err="1">
                <a:solidFill>
                  <a:srgbClr val="007FBD"/>
                </a:solidFill>
              </a:rPr>
              <a:t>majoritatea</a:t>
            </a:r>
            <a:r>
              <a:rPr lang="en-US" sz="1600" i="1" dirty="0">
                <a:solidFill>
                  <a:srgbClr val="007FBD"/>
                </a:solidFill>
              </a:rPr>
              <a:t> sunt </a:t>
            </a:r>
            <a:r>
              <a:rPr lang="en-US" sz="1600" i="1" dirty="0" err="1">
                <a:solidFill>
                  <a:srgbClr val="007FBD"/>
                </a:solidFill>
              </a:rPr>
              <a:t>lente</a:t>
            </a:r>
            <a:r>
              <a:rPr lang="en-US" sz="1600" i="1" dirty="0">
                <a:solidFill>
                  <a:srgbClr val="007FBD"/>
                </a:solidFill>
              </a:rPr>
              <a:t>, de capacitate </a:t>
            </a:r>
            <a:r>
              <a:rPr lang="en-US" sz="1600" i="1" dirty="0" err="1">
                <a:solidFill>
                  <a:srgbClr val="007FBD"/>
                </a:solidFill>
              </a:rPr>
              <a:t>redusa</a:t>
            </a:r>
            <a:r>
              <a:rPr lang="en-US" sz="1600" i="1" dirty="0">
                <a:solidFill>
                  <a:srgbClr val="007FBD"/>
                </a:solidFill>
              </a:rPr>
              <a:t>, </a:t>
            </a:r>
            <a:r>
              <a:rPr lang="en-US" sz="1600" i="1" dirty="0" err="1">
                <a:solidFill>
                  <a:srgbClr val="007FBD"/>
                </a:solidFill>
              </a:rPr>
              <a:t>rezultand</a:t>
            </a:r>
            <a:r>
              <a:rPr lang="en-US" sz="1600" i="1" dirty="0">
                <a:solidFill>
                  <a:srgbClr val="007FBD"/>
                </a:solidFill>
              </a:rPr>
              <a:t> o </a:t>
            </a:r>
            <a:r>
              <a:rPr lang="en-US" sz="1600" i="1" dirty="0" err="1">
                <a:solidFill>
                  <a:srgbClr val="007FBD"/>
                </a:solidFill>
              </a:rPr>
              <a:t>nevoie</a:t>
            </a:r>
            <a:r>
              <a:rPr lang="en-US" sz="1600" i="1" dirty="0">
                <a:solidFill>
                  <a:srgbClr val="007FBD"/>
                </a:solidFill>
              </a:rPr>
              <a:t> de </a:t>
            </a:r>
            <a:r>
              <a:rPr lang="en-US" sz="1600" i="1" dirty="0" err="1">
                <a:solidFill>
                  <a:srgbClr val="007FBD"/>
                </a:solidFill>
              </a:rPr>
              <a:t>dezvoltare</a:t>
            </a:r>
            <a:r>
              <a:rPr lang="en-US" sz="1600" i="1" dirty="0">
                <a:solidFill>
                  <a:srgbClr val="007FBD"/>
                </a:solidFill>
              </a:rPr>
              <a:t> </a:t>
            </a:r>
            <a:r>
              <a:rPr lang="en-US" sz="1600" i="1" dirty="0" err="1">
                <a:solidFill>
                  <a:srgbClr val="007FBD"/>
                </a:solidFill>
              </a:rPr>
              <a:t>semnificativa</a:t>
            </a:r>
            <a:r>
              <a:rPr lang="en-US" sz="1600" i="1" dirty="0">
                <a:solidFill>
                  <a:srgbClr val="007FBD"/>
                </a:solidFill>
              </a:rPr>
              <a:t> accelerate</a:t>
            </a:r>
          </a:p>
          <a:p>
            <a:pPr algn="just">
              <a:lnSpc>
                <a:spcPct val="100000"/>
              </a:lnSpc>
              <a:spcAft>
                <a:spcPts val="1200"/>
              </a:spcAft>
            </a:pPr>
            <a:endParaRPr lang="en-US" sz="1600" dirty="0">
              <a:solidFill>
                <a:srgbClr val="007FBD"/>
              </a:solidFill>
            </a:endParaRPr>
          </a:p>
          <a:p>
            <a:pPr algn="just">
              <a:lnSpc>
                <a:spcPct val="100000"/>
              </a:lnSpc>
              <a:spcAft>
                <a:spcPts val="1200"/>
              </a:spcAft>
            </a:pPr>
            <a:r>
              <a:rPr lang="en-US" sz="1600" i="1" dirty="0">
                <a:solidFill>
                  <a:srgbClr val="007FBD"/>
                </a:solidFill>
              </a:rPr>
              <a:t>	</a:t>
            </a:r>
            <a:r>
              <a:rPr lang="en-US" sz="1600" i="1" dirty="0" err="1">
                <a:solidFill>
                  <a:srgbClr val="007FBD"/>
                </a:solidFill>
              </a:rPr>
              <a:t>Surse</a:t>
            </a:r>
            <a:r>
              <a:rPr lang="en-US" sz="1600" i="1" dirty="0">
                <a:solidFill>
                  <a:srgbClr val="007FBD"/>
                </a:solidFill>
              </a:rPr>
              <a:t>: IEA EV global Outlook 2021; EV </a:t>
            </a:r>
            <a:r>
              <a:rPr lang="en-US" sz="1600" i="1" dirty="0" err="1">
                <a:solidFill>
                  <a:srgbClr val="007FBD"/>
                </a:solidFill>
              </a:rPr>
              <a:t>Roamnia</a:t>
            </a:r>
            <a:r>
              <a:rPr lang="en-US" sz="1600" i="1" dirty="0">
                <a:solidFill>
                  <a:srgbClr val="007FBD"/>
                </a:solidFill>
              </a:rPr>
              <a:t> E-Mobility Index</a:t>
            </a:r>
            <a:endParaRPr lang="ro-RO" sz="1600" i="1" dirty="0">
              <a:solidFill>
                <a:srgbClr val="007FBD"/>
              </a:solidFill>
            </a:endParaRPr>
          </a:p>
        </p:txBody>
      </p:sp>
      <p:pic>
        <p:nvPicPr>
          <p:cNvPr id="4" name="Imagine 3">
            <a:extLst>
              <a:ext uri="{FF2B5EF4-FFF2-40B4-BE49-F238E27FC236}">
                <a16:creationId xmlns:a16="http://schemas.microsoft.com/office/drawing/2014/main" id="{AC3C8FF2-1CCE-46E6-A374-496AEF69A45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09775" y="947848"/>
            <a:ext cx="8286788" cy="4128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4976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766575" y="504075"/>
            <a:ext cx="10440000" cy="430200"/>
          </a:xfrm>
        </p:spPr>
        <p:txBody>
          <a:bodyPr/>
          <a:lstStyle/>
          <a:p>
            <a:r>
              <a:rPr lang="en-US" b="1" dirty="0" err="1"/>
              <a:t>Descrierea</a:t>
            </a:r>
            <a:r>
              <a:rPr lang="en-US" b="1" dirty="0"/>
              <a:t> </a:t>
            </a:r>
            <a:r>
              <a:rPr lang="en-US" b="1" dirty="0" err="1"/>
              <a:t>proiectului</a:t>
            </a:r>
            <a:r>
              <a:rPr lang="en-US" b="1" dirty="0"/>
              <a:t> 1/2</a:t>
            </a:r>
            <a:endParaRPr lang="ro-RO" b="1" dirty="0"/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4294967295"/>
          </p:nvPr>
        </p:nvSpPr>
        <p:spPr>
          <a:xfrm>
            <a:off x="639174" y="1171575"/>
            <a:ext cx="10440000" cy="4625882"/>
          </a:xfrm>
          <a:prstGeom prst="rect">
            <a:avLst/>
          </a:prstGeom>
        </p:spPr>
        <p:txBody>
          <a:bodyPr/>
          <a:lstStyle/>
          <a:p>
            <a:pPr marL="342900" indent="-342900" algn="just">
              <a:lnSpc>
                <a:spcPct val="100000"/>
              </a:lnSpc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Proiectul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consta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in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dezvoltarea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implementarea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unei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retele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nationale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statii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incarcare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vehicule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electrice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</a:p>
          <a:p>
            <a:pPr marL="342900" indent="-342900" algn="just">
              <a:lnSpc>
                <a:spcPct val="100000"/>
              </a:lnSpc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Dezvoltarea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retelei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este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un program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multianual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cu o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esalonare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planificata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pentru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perioada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2021-2026,</a:t>
            </a:r>
          </a:p>
          <a:p>
            <a:pPr marL="342900" indent="-342900" algn="just">
              <a:lnSpc>
                <a:spcPct val="100000"/>
              </a:lnSpc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Serviciile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incarcare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se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adreseaza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tuturor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categoriilor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utilizatori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vehicule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electrice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respectiv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solutii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pentru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persoane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fizice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cat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si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solutii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personalizate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pentru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flote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gestionate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persoane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juridice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 algn="just">
              <a:lnSpc>
                <a:spcPct val="100000"/>
              </a:lnSpc>
              <a:spcAft>
                <a:spcPts val="1200"/>
              </a:spcAft>
              <a:buFont typeface="Wingdings" panose="05000000000000000000" pitchFamily="2" charset="2"/>
              <a:buChar char="§"/>
            </a:pP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00000"/>
              </a:lnSpc>
              <a:spcAft>
                <a:spcPts val="1200"/>
              </a:spcAft>
            </a:pPr>
            <a:r>
              <a:rPr lang="en-US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Obiectivele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proiectului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o-RO" sz="1600" dirty="0">
                <a:latin typeface="Arial" panose="020B0604020202020204" pitchFamily="34" charset="0"/>
                <a:cs typeface="Arial" panose="020B0604020202020204" pitchFamily="34" charset="0"/>
              </a:rPr>
              <a:t>dezvoltarea infrastructurii pentru mobilitatea electrică și decarbonizarea sectorului transporturi prin care: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marR="0" indent="-285750" algn="just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C</a:t>
            </a:r>
            <a:r>
              <a:rPr lang="ro-RO" sz="1600" dirty="0" err="1">
                <a:latin typeface="Arial" panose="020B0604020202020204" pitchFamily="34" charset="0"/>
                <a:cs typeface="Arial" panose="020B0604020202020204" pitchFamily="34" charset="0"/>
              </a:rPr>
              <a:t>ontribui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e</a:t>
            </a:r>
            <a:r>
              <a:rPr lang="ro-RO" sz="1600" dirty="0">
                <a:latin typeface="Arial" panose="020B0604020202020204" pitchFamily="34" charset="0"/>
                <a:cs typeface="Arial" panose="020B0604020202020204" pitchFamily="34" charset="0"/>
              </a:rPr>
              <a:t> la dezvoltarea pe scară largă a mobilității electrice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in Romania,</a:t>
            </a:r>
          </a:p>
          <a:p>
            <a:pPr marL="285750" marR="0" indent="-285750" algn="just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Contribuie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semnificativ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la </a:t>
            </a:r>
            <a:r>
              <a:rPr lang="ro-RO" sz="1600" dirty="0">
                <a:latin typeface="Arial" panose="020B0604020202020204" pitchFamily="34" charset="0"/>
                <a:cs typeface="Arial" panose="020B0604020202020204" pitchFamily="34" charset="0"/>
              </a:rPr>
              <a:t>reduce cantitatea de emisii de gaze cu efect de seră prin decarbonizarea sectorului transporturi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contribuind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la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atingerea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obiectivelor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asumate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in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contextul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Green Deal,</a:t>
            </a:r>
          </a:p>
          <a:p>
            <a:pPr marL="285750" marR="0" indent="-285750" algn="just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Intr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-o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faza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ulterioara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o-RO" sz="1600" dirty="0">
                <a:latin typeface="Arial" panose="020B0604020202020204" pitchFamily="34" charset="0"/>
                <a:cs typeface="Arial" panose="020B0604020202020204" pitchFamily="34" charset="0"/>
              </a:rPr>
              <a:t>se urmărește si dezvoltarea soluțiilor </a:t>
            </a:r>
            <a:r>
              <a:rPr lang="ro-RO" sz="1600" dirty="0" err="1">
                <a:latin typeface="Arial" panose="020B0604020202020204" pitchFamily="34" charset="0"/>
                <a:cs typeface="Arial" panose="020B0604020202020204" pitchFamily="34" charset="0"/>
              </a:rPr>
              <a:t>smart</a:t>
            </a:r>
            <a:r>
              <a:rPr lang="ro-RO" sz="1600" dirty="0">
                <a:latin typeface="Arial" panose="020B0604020202020204" pitchFamily="34" charset="0"/>
                <a:cs typeface="Arial" panose="020B0604020202020204" pitchFamily="34" charset="0"/>
              </a:rPr>
              <a:t> de tipul V2G (</a:t>
            </a:r>
            <a:r>
              <a:rPr lang="ro-RO" sz="1600" dirty="0" err="1">
                <a:latin typeface="Arial" panose="020B0604020202020204" pitchFamily="34" charset="0"/>
                <a:cs typeface="Arial" panose="020B0604020202020204" pitchFamily="34" charset="0"/>
              </a:rPr>
              <a:t>vehicle</a:t>
            </a:r>
            <a:r>
              <a:rPr lang="ro-RO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o-RO" sz="1600" dirty="0" err="1">
                <a:latin typeface="Arial" panose="020B0604020202020204" pitchFamily="34" charset="0"/>
                <a:cs typeface="Arial" panose="020B0604020202020204" pitchFamily="34" charset="0"/>
              </a:rPr>
              <a:t>to</a:t>
            </a:r>
            <a:r>
              <a:rPr lang="ro-RO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o-RO" sz="1600" dirty="0" err="1">
                <a:latin typeface="Arial" panose="020B0604020202020204" pitchFamily="34" charset="0"/>
                <a:cs typeface="Arial" panose="020B0604020202020204" pitchFamily="34" charset="0"/>
              </a:rPr>
              <a:t>grid</a:t>
            </a:r>
            <a:r>
              <a:rPr lang="ro-RO" sz="1600" dirty="0">
                <a:latin typeface="Arial" panose="020B0604020202020204" pitchFamily="34" charset="0"/>
                <a:cs typeface="Arial" panose="020B0604020202020204" pitchFamily="34" charset="0"/>
              </a:rPr>
              <a:t>), soluții care facilitează integrarea RES intermitente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o-RO" sz="1600" dirty="0">
                <a:latin typeface="Arial" panose="020B0604020202020204" pitchFamily="34" charset="0"/>
                <a:cs typeface="Arial" panose="020B0604020202020204" pitchFamily="34" charset="0"/>
              </a:rPr>
              <a:t>pe măsură ce aceste soluții sunt disponibile la nivel comercial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),</a:t>
            </a:r>
          </a:p>
          <a:p>
            <a:pPr marL="285750" marR="0" indent="-285750" algn="just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Contribuie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o-RO" sz="1600" dirty="0">
                <a:latin typeface="Arial" panose="020B0604020202020204" pitchFamily="34" charset="0"/>
                <a:cs typeface="Arial" panose="020B0604020202020204" pitchFamily="34" charset="0"/>
              </a:rPr>
              <a:t>la dezvoltarea din punct de vedere economic și social atât prin crearea de locuri de muncă, cât și prin atragerea în zona de impact de personal înalt calificat ca urmare a aplicării noilor tehnologii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o-RO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334942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766575" y="504075"/>
            <a:ext cx="10440000" cy="430200"/>
          </a:xfrm>
        </p:spPr>
        <p:txBody>
          <a:bodyPr/>
          <a:lstStyle/>
          <a:p>
            <a:r>
              <a:rPr lang="en-US" b="1" dirty="0" err="1"/>
              <a:t>Descrierea</a:t>
            </a:r>
            <a:r>
              <a:rPr lang="en-US" b="1" dirty="0"/>
              <a:t> </a:t>
            </a:r>
            <a:r>
              <a:rPr lang="en-US" b="1" dirty="0" err="1"/>
              <a:t>proiectului</a:t>
            </a:r>
            <a:r>
              <a:rPr lang="en-US" b="1" dirty="0"/>
              <a:t> 2/2</a:t>
            </a:r>
            <a:endParaRPr lang="ro-RO" b="1" dirty="0"/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4294967295"/>
          </p:nvPr>
        </p:nvSpPr>
        <p:spPr>
          <a:xfrm>
            <a:off x="639174" y="1364617"/>
            <a:ext cx="10181226" cy="5170646"/>
          </a:xfrm>
          <a:prstGeom prst="rect">
            <a:avLst/>
          </a:prstGeom>
        </p:spPr>
        <p:txBody>
          <a:bodyPr/>
          <a:lstStyle/>
          <a:p>
            <a:pPr algn="just">
              <a:lnSpc>
                <a:spcPct val="100000"/>
              </a:lnSpc>
              <a:spcAft>
                <a:spcPts val="1200"/>
              </a:spcAft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In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ce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consta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implementarea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solutiei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complete de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infrastructura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incarcare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pentru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fiecare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locatie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punct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incarcare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342900" marR="0" indent="-342900" algn="just">
              <a:lnSpc>
                <a:spcPct val="100000"/>
              </a:lnSpc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Furnizarea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echipamente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specifice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45 </a:t>
            </a:r>
            <a:r>
              <a:rPr lang="ro-RO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ți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</a:t>
            </a:r>
            <a:r>
              <a:rPr lang="ro-RO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reîncărcare vehicule electrice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un mix de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pacitati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e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x22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350 kW pe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tie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nct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arcare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instalatie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racordare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materiale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si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echipamente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specifice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infrastructurii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incarcare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),</a:t>
            </a:r>
          </a:p>
          <a:p>
            <a:pPr marL="342900" marR="0" indent="-342900" algn="just">
              <a:lnSpc>
                <a:spcPct val="100000"/>
              </a:lnSpc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C</a:t>
            </a:r>
            <a:r>
              <a:rPr lang="ro-RO" sz="1600" dirty="0" err="1">
                <a:latin typeface="Arial" panose="020B0604020202020204" pitchFamily="34" charset="0"/>
                <a:cs typeface="Arial" panose="020B0604020202020204" pitchFamily="34" charset="0"/>
              </a:rPr>
              <a:t>onstruire</a:t>
            </a:r>
            <a:r>
              <a:rPr lang="ro-RO" sz="1600" dirty="0">
                <a:latin typeface="Arial" panose="020B0604020202020204" pitchFamily="34" charset="0"/>
                <a:cs typeface="Arial" panose="020B0604020202020204" pitchFamily="34" charset="0"/>
              </a:rPr>
              <a:t> stație de reîncărcare vehicule electrice, construcții și instalații – fundație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pentru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amplasare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echipamente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amenajare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spatii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parcare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ro-RO" sz="1600" dirty="0">
                <a:latin typeface="Arial" panose="020B0604020202020204" pitchFamily="34" charset="0"/>
                <a:cs typeface="Arial" panose="020B0604020202020204" pitchFamily="34" charset="0"/>
              </a:rPr>
              <a:t> instalație electrică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*,</a:t>
            </a:r>
          </a:p>
          <a:p>
            <a:pPr marL="342900" marR="0" indent="-342900" algn="just">
              <a:lnSpc>
                <a:spcPct val="100000"/>
              </a:lnSpc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Dezvoltare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personalizare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o-RO" sz="1600" dirty="0">
                <a:latin typeface="Arial" panose="020B0604020202020204" pitchFamily="34" charset="0"/>
                <a:cs typeface="Arial" panose="020B0604020202020204" pitchFamily="34" charset="0"/>
              </a:rPr>
              <a:t>platformă software pentru administrarea stațiilor, 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marR="0" indent="-342900" algn="just">
              <a:lnSpc>
                <a:spcPct val="100000"/>
              </a:lnSpc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Dezvoltare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personalizare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o-RO" sz="1600" dirty="0">
                <a:latin typeface="Arial" panose="020B0604020202020204" pitchFamily="34" charset="0"/>
                <a:cs typeface="Arial" panose="020B0604020202020204" pitchFamily="34" charset="0"/>
              </a:rPr>
              <a:t>aplicație pentru utilizatorii finali ai serviciilor de încărcare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(web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si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mobileapp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).</a:t>
            </a:r>
          </a:p>
          <a:p>
            <a:pPr marL="342900" marR="0" indent="-342900" algn="just">
              <a:lnSpc>
                <a:spcPct val="100000"/>
              </a:lnSpc>
              <a:spcAft>
                <a:spcPts val="1200"/>
              </a:spcAft>
              <a:buFont typeface="Wingdings" panose="05000000000000000000" pitchFamily="2" charset="2"/>
              <a:buChar char="§"/>
            </a:pP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R="0" algn="just">
              <a:lnSpc>
                <a:spcPct val="100000"/>
              </a:lnSpc>
              <a:spcAft>
                <a:spcPts val="1200"/>
              </a:spcAft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Obs. *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Instalatia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electrica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include: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atat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instalatia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utilizare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cat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si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cea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racordare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la SEN, in general la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retelele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distributie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); In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anumite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configuratii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, determinate de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analiza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cost-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beneficiu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a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solutiilor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racordare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aprobate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operatorul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retea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responsabil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statiile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incarcare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vor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fi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dotate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cu capacitate de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stocare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si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managementul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energiei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de la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distanta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just">
              <a:lnSpc>
                <a:spcPct val="100000"/>
              </a:lnSpc>
              <a:spcAft>
                <a:spcPts val="1200"/>
              </a:spcAft>
              <a:buFont typeface="Wingdings" panose="05000000000000000000" pitchFamily="2" charset="2"/>
              <a:buChar char="§"/>
            </a:pPr>
            <a:endParaRPr lang="en-US" sz="1600" dirty="0">
              <a:solidFill>
                <a:srgbClr val="007FB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just">
              <a:lnSpc>
                <a:spcPct val="100000"/>
              </a:lnSpc>
              <a:spcAft>
                <a:spcPts val="1200"/>
              </a:spcAft>
              <a:buFont typeface="Wingdings" panose="05000000000000000000" pitchFamily="2" charset="2"/>
              <a:buChar char="§"/>
            </a:pPr>
            <a:endParaRPr lang="ro-RO" sz="1600" dirty="0">
              <a:solidFill>
                <a:srgbClr val="007FB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434343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50914" y="285000"/>
            <a:ext cx="10440000" cy="430200"/>
          </a:xfrm>
        </p:spPr>
        <p:txBody>
          <a:bodyPr/>
          <a:lstStyle/>
          <a:p>
            <a:r>
              <a:rPr lang="en-US" b="1" dirty="0" err="1"/>
              <a:t>Grafic</a:t>
            </a:r>
            <a:r>
              <a:rPr lang="en-US" b="1" dirty="0"/>
              <a:t> </a:t>
            </a:r>
            <a:r>
              <a:rPr lang="en-US" b="1" dirty="0" err="1"/>
              <a:t>implementare</a:t>
            </a:r>
            <a:r>
              <a:rPr lang="en-US" b="1" dirty="0"/>
              <a:t> </a:t>
            </a:r>
            <a:r>
              <a:rPr lang="en-US" b="1" dirty="0" err="1"/>
              <a:t>si</a:t>
            </a:r>
            <a:r>
              <a:rPr lang="en-US" b="1" dirty="0"/>
              <a:t> </a:t>
            </a:r>
            <a:r>
              <a:rPr lang="en-US" b="1" dirty="0" err="1"/>
              <a:t>evaluare</a:t>
            </a:r>
            <a:r>
              <a:rPr lang="en-US" b="1" dirty="0"/>
              <a:t> </a:t>
            </a:r>
            <a:r>
              <a:rPr lang="en-US" b="1" dirty="0" err="1"/>
              <a:t>costuri</a:t>
            </a:r>
            <a:r>
              <a:rPr lang="en-US" b="1" dirty="0"/>
              <a:t> </a:t>
            </a:r>
            <a:r>
              <a:rPr lang="en-US" b="1" dirty="0" err="1"/>
              <a:t>invetitionale</a:t>
            </a:r>
            <a:endParaRPr lang="ro-RO" b="1" dirty="0"/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4294967295"/>
          </p:nvPr>
        </p:nvSpPr>
        <p:spPr>
          <a:xfrm>
            <a:off x="650914" y="715200"/>
            <a:ext cx="10521911" cy="5064784"/>
          </a:xfrm>
          <a:prstGeom prst="rect">
            <a:avLst/>
          </a:prstGeom>
        </p:spPr>
        <p:txBody>
          <a:bodyPr/>
          <a:lstStyle/>
          <a:p>
            <a:pPr marR="0" algn="just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600" b="1" dirty="0" err="1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incipalele</a:t>
            </a:r>
            <a:r>
              <a:rPr lang="en-US" sz="16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milestones:</a:t>
            </a:r>
          </a:p>
          <a:p>
            <a:pPr marL="285750" marR="0" indent="-285750" algn="just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o-RO" sz="16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tapă proiectare și autorizații (Proiect tehnic, Autorizații și avize pentru construirea și racordarea la rețeaua electrică de distribuție a stațiilor de reîncărcare vehicule electrice)</a:t>
            </a:r>
            <a:r>
              <a:rPr lang="en-US" sz="16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</a:t>
            </a:r>
          </a:p>
          <a:p>
            <a:pPr marL="285750" marR="0" indent="-285750" algn="just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o-RO" sz="16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emnare contract de finanțare</a:t>
            </a:r>
            <a:r>
              <a:rPr lang="en-US" sz="16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erambursabila</a:t>
            </a:r>
            <a:r>
              <a:rPr lang="en-US" sz="16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</a:t>
            </a:r>
          </a:p>
          <a:p>
            <a:pPr marL="285750" marR="0" indent="-285750" algn="just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o-RO" sz="16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tapă construire (Achiziție, livrare și lucrări construcții-montaj echipamente tehnologice, instalații și dotări stații de reîncărcare vehicule electrice și instalație de racordare stații de reîncărcare vehicule electrice)</a:t>
            </a:r>
            <a:r>
              <a:rPr lang="en-US" sz="16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</a:t>
            </a:r>
          </a:p>
          <a:p>
            <a:pPr marL="285750" marR="0" indent="-285750" algn="just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o-RO" sz="16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tapă punere în funcțiune (Punere în funcțiune instalație de utilizare și instalație de racordare stații de reîncărcare vehicule electrice)</a:t>
            </a:r>
            <a:r>
              <a:rPr lang="en-US" sz="16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ro-RO" sz="16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tapă operațională (Exploatare </a:t>
            </a:r>
            <a:r>
              <a:rPr lang="en-US" sz="1600" dirty="0" err="1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ehnica</a:t>
            </a:r>
            <a:r>
              <a:rPr lang="en-US" sz="16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i</a:t>
            </a:r>
            <a:r>
              <a:rPr lang="en-US" sz="16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o-RO" sz="16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mercială stații de reîncărcare vehicule electrice)</a:t>
            </a:r>
            <a:r>
              <a:rPr lang="en-US" sz="16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</a:pPr>
            <a:r>
              <a:rPr lang="en-US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Evaluarea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investitie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totale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 de 10 500 000 Eur s-a </a:t>
            </a:r>
            <a:r>
              <a:rPr lang="en-US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realizat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considerand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urmatoarele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costuri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investitionale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85750" indent="-285750" algn="just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o-RO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sturi cu investiția de bază (echipamente tehnologice – 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45 </a:t>
            </a:r>
            <a:r>
              <a:rPr lang="ro-RO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ți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</a:t>
            </a:r>
            <a:r>
              <a:rPr lang="ro-RO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reîncărcare vehicule electrice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u un mix de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pacitati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e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x22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350 kW pe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tie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nct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arcare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upa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z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tate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u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talatii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ocare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r>
              <a:rPr lang="ro-RO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construcții și instalații – fundație, instalație electrică și instalație electrică curenți slabi, platforma software pentru administrarea stațiilor, aplicație pentru utilizatorii finali ai serviciilor de încărcare, inclusiv proiectare, management proiect, transport și lucrările de construcții montaj)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sturi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pecific,</a:t>
            </a:r>
          </a:p>
          <a:p>
            <a:pPr marL="285750" indent="-285750" algn="just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o-RO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sturi adiționale (lucrări pe tarif de racordare, lucrări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nduri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neficiar</a:t>
            </a:r>
            <a:r>
              <a:rPr lang="ro-RO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costuri adiționale construirii, punerii în funcțiune și exploatării comerciale, inclusiv avize, acorduri, autorizații, licențe)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o-RO" sz="16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953213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10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23&quot;&gt;&lt;elem m_fUsage=&quot;4.09460008046507706325E+00&quot;&gt;&lt;m_msothmcolidx val=&quot;0&quot;/&gt;&lt;m_rgb r=&quot;5E&quot; g=&quot;C1&quot; b=&quot;EE&quot;/&gt;&lt;m_nBrightness tagver0=&quot;26206&quot; tagname0=&quot;m_nBrightnessUNRECOGNIZED&quot; val=&quot;0&quot;/&gt;&lt;/elem&gt;&lt;elem m_fUsage=&quot;2.12885523362502704359E+00&quot;&gt;&lt;m_msothmcolidx val=&quot;0&quot;/&gt;&lt;m_rgb r=&quot;00&quot; g=&quot;7F&quot; b=&quot;BD&quot;/&gt;&lt;m_nBrightness tagver0=&quot;26206&quot; tagname0=&quot;m_nBrightnessUNRECOGNIZED&quot; val=&quot;0&quot;/&gt;&lt;/elem&gt;&lt;elem m_fUsage=&quot;9.46570974604652337625E-01&quot;&gt;&lt;m_msothmcolidx val=&quot;0&quot;/&gt;&lt;m_rgb r=&quot;CA&quot; g=&quot;EB&quot; b=&quot;FF&quot;/&gt;&lt;m_nBrightness tagver0=&quot;26206&quot; tagname0=&quot;m_nBrightnessUNRECOGNIZED&quot; val=&quot;0&quot;/&gt;&lt;/elem&gt;&lt;elem m_fUsage=&quot;5.75551321427034245914E-01&quot;&gt;&lt;m_msothmcolidx val=&quot;0&quot;/&gt;&lt;m_rgb r=&quot;00&quot; g=&quot;7B&quot; b=&quot;C8&quot;/&gt;&lt;m_nBrightness tagver0=&quot;26206&quot; tagname0=&quot;m_nBrightnessUNRECOGNIZED&quot; val=&quot;0&quot;/&gt;&lt;/elem&gt;&lt;elem m_fUsage=&quot;5.29658296242968562595E-01&quot;&gt;&lt;m_msothmcolidx val=&quot;0&quot;/&gt;&lt;m_rgb r=&quot;95&quot; g=&quot;00&quot; b=&quot;04&quot;/&gt;&lt;m_nBrightness tagver0=&quot;26206&quot; tagname0=&quot;m_nBrightnessUNRECOGNIZED&quot; val=&quot;0&quot;/&gt;&lt;/elem&gt;&lt;elem m_fUsage=&quot;3.87420489000000145552E-01&quot;&gt;&lt;m_msothmcolidx val=&quot;0&quot;/&gt;&lt;m_rgb r=&quot;00&quot; g=&quot;B0&quot; b=&quot;50&quot;/&gt;&lt;m_nBrightness tagver0=&quot;26206&quot; tagname0=&quot;m_nBrightnessUNRECOGNIZED&quot; val=&quot;0&quot;/&gt;&lt;/elem&gt;&lt;elem m_fUsage=&quot;3.76780567826785872665E-01&quot;&gt;&lt;m_msothmcolidx val=&quot;0&quot;/&gt;&lt;m_rgb r=&quot;B9&quot; g=&quot;CD&quot; b=&quot;E5&quot;/&gt;&lt;m_nBrightness tagver0=&quot;26206&quot; tagname0=&quot;m_nBrightnessUNRECOGNIZED&quot; val=&quot;0&quot;/&gt;&lt;/elem&gt;&lt;elem m_fUsage=&quot;3.13810596090000171188E-01&quot;&gt;&lt;m_msothmcolidx val=&quot;0&quot;/&gt;&lt;m_rgb r=&quot;F4&quot; g=&quot;B8&quot; b=&quot;22&quot;/&gt;&lt;m_nBrightness tagver0=&quot;26206&quot; tagname0=&quot;m_nBrightnessUNRECOGNIZED&quot; val=&quot;0&quot;/&gt;&lt;/elem&gt;&lt;elem m_fUsage=&quot;2.54186582832900132001E-01&quot;&gt;&lt;m_msothmcolidx val=&quot;0&quot;/&gt;&lt;m_rgb r=&quot;F3&quot; g=&quot;5B&quot; b=&quot;2A&quot;/&gt;&lt;m_nBrightness tagver0=&quot;26206&quot; tagname0=&quot;m_nBrightnessUNRECOGNIZED&quot; val=&quot;0&quot;/&gt;&lt;/elem&gt;&lt;elem m_fUsage=&quot;2.39543188213915847484E-01&quot;&gt;&lt;m_msothmcolidx val=&quot;0&quot;/&gt;&lt;m_rgb r=&quot;00&quot; g=&quot;43&quot; b=&quot;77&quot;/&gt;&lt;m_nBrightness tagver0=&quot;26206&quot; tagname0=&quot;m_nBrightnessUNRECOGNIZED&quot; val=&quot;0&quot;/&gt;&lt;/elem&gt;&lt;elem m_fUsage=&quot;9.84770902183611934744E-02&quot;&gt;&lt;m_msothmcolidx val=&quot;0&quot;/&gt;&lt;m_rgb r=&quot;0B&quot; g=&quot;0E&quot; b=&quot;95&quot;/&gt;&lt;m_nBrightness tagver0=&quot;26206&quot; tagname0=&quot;m_nBrightnessUNRECOGNIZED&quot; val=&quot;0&quot;/&gt;&lt;/elem&gt;&lt;elem m_fUsage=&quot;2.59259055400410734493E-02&quot;&gt;&lt;m_msothmcolidx val=&quot;0&quot;/&gt;&lt;m_rgb r=&quot;FB&quot; g=&quot;1F&quot; b=&quot;0D&quot;/&gt;&lt;m_nBrightness tagver0=&quot;26206&quot; tagname0=&quot;m_nBrightnessUNRECOGNIZED&quot; val=&quot;0&quot;/&gt;&lt;/elem&gt;&lt;elem m_fUsage=&quot;1.82480036314007498799E-02&quot;&gt;&lt;m_msothmcolidx val=&quot;0&quot;/&gt;&lt;m_rgb r=&quot;53&quot; g=&quot;97&quot; b=&quot;67&quot;/&gt;&lt;m_nBrightness tagver0=&quot;26206&quot; tagname0=&quot;m_nBrightnessUNRECOGNIZED&quot; val=&quot;0&quot;/&gt;&lt;/elem&gt;&lt;elem m_fUsage=&quot;2.60377564042672772146E-03&quot;&gt;&lt;m_msothmcolidx val=&quot;0&quot;/&gt;&lt;m_rgb r=&quot;55&quot; g=&quot;CC&quot; b=&quot;E1&quot;/&gt;&lt;m_nBrightness tagver0=&quot;26206&quot; tagname0=&quot;m_nBrightnessUNRECOGNIZED&quot; val=&quot;0&quot;/&gt;&lt;/elem&gt;&lt;elem m_fUsage=&quot;2.31437479814104729581E-03&quot;&gt;&lt;m_msothmcolidx val=&quot;0&quot;/&gt;&lt;m_rgb r=&quot;00&quot; g=&quot;AE&quot; b=&quot;CD&quot;/&gt;&lt;m_nBrightness tagver0=&quot;26206&quot; tagname0=&quot;m_nBrightnessUNRECOGNIZED&quot; val=&quot;0&quot;/&gt;&lt;/elem&gt;&lt;elem m_fUsage=&quot;1.99667811101603706950E-03&quot;&gt;&lt;m_msothmcolidx val=&quot;0&quot;/&gt;&lt;m_rgb r=&quot;E6&quot; g=&quot;00&quot; b=&quot;12&quot;/&gt;&lt;m_nBrightness tagver0=&quot;26206&quot; tagname0=&quot;m_nBrightnessUNRECOGNIZED&quot; val=&quot;0&quot;/&gt;&lt;/elem&gt;&lt;elem m_fUsage=&quot;1.79701029991443349265E-03&quot;&gt;&lt;m_msothmcolidx val=&quot;0&quot;/&gt;&lt;m_rgb r=&quot;C0&quot; g=&quot;00&quot; b=&quot;00&quot;/&gt;&lt;m_nBrightness tagver0=&quot;26206&quot; tagname0=&quot;m_nBrightnessUNRECOGNIZED&quot; val=&quot;0&quot;/&gt;&lt;/elem&gt;&lt;elem m_fUsage=&quot;1.47368186053590329194E-03&quot;&gt;&lt;m_msothmcolidx val=&quot;0&quot;/&gt;&lt;m_rgb r=&quot;09&quot; g=&quot;DA&quot; b=&quot;FF&quot;/&gt;&lt;m_nBrightness tagver0=&quot;26206&quot; tagname0=&quot;m_nBrightnessUNRECOGNIZED&quot; val=&quot;0&quot;/&gt;&lt;/elem&gt;&lt;elem m_fUsage=&quot;1.21151707801005773186E-04&quot;&gt;&lt;m_msothmcolidx val=&quot;0&quot;/&gt;&lt;m_rgb r=&quot;2A&quot; g=&quot;BE&quot; b=&quot;DA&quot;/&gt;&lt;m_nBrightness tagver0=&quot;26206&quot; tagname0=&quot;m_nBrightnessUNRECOGNIZED&quot; val=&quot;0&quot;/&gt;&lt;/elem&gt;&lt;elem m_fUsage=&quot;3.72512112935314922461E-05&quot;&gt;&lt;m_msothmcolidx val=&quot;0&quot;/&gt;&lt;m_rgb r=&quot;DC&quot; g=&quot;E3&quot; b=&quot;ED&quot;/&gt;&lt;m_nBrightness tagver0=&quot;26206&quot; tagname0=&quot;m_nBrightnessUNRECOGNIZED&quot; val=&quot;0&quot;/&gt;&lt;/elem&gt;&lt;elem m_fUsage=&quot;2.52844672234874591206E-05&quot;&gt;&lt;m_msothmcolidx val=&quot;0&quot;/&gt;&lt;m_rgb r=&quot;5C&quot; g=&quot;81&quot; b=&quot;AC&quot;/&gt;&lt;m_nBrightness tagver0=&quot;26206&quot; tagname0=&quot;m_nBrightnessUNRECOGNIZED&quot; val=&quot;0&quot;/&gt;&lt;/elem&gt;&lt;elem m_fUsage=&quot;2.11870831240885879574E-06&quot;&gt;&lt;m_msothmcolidx val=&quot;0&quot;/&gt;&lt;m_rgb r=&quot;FE&quot; g=&quot;FE&quot; b=&quot;FE&quot;/&gt;&lt;m_nBrightness tagver0=&quot;26206&quot; tagname0=&quot;m_nBrightnessUNRECOGNIZED&quot; val=&quot;0&quot;/&gt;&lt;/elem&gt;&lt;elem m_fUsage=&quot;8.98144994103401975161E-08&quot;&gt;&lt;m_msothmcolidx val=&quot;7&quot;/&gt;&lt;m_nBrightness tagver0=&quot;26206&quot; tagname0=&quot;m_nBrightnessUNRECOGNIZED&quot;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Y6BtIMT5i_Po2SHBMI0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tJWWZJTRyqxJeJiBqsh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zCTvYdQ5.BuNfA5AAl8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5SXzVsEeSr6ZASM3NG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5AqITRmRnSudMfDOEx4a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74Lt1pfEeuusKCiCw0P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AYihxDE5kuGURPGQNXaB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tmelsgBUePgy_NUQgnr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QGdnOjRBeRNUkWlCKCu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tJWWZJTRyqxJeJiBqsh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zCTvYdQ5.BuNfA5AAl8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5SXzVsEeSr6ZASM3NG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5AqITRmRnSudMfDOEx4a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74Lt1pfEeuusKCiCw0P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AYihxDE5kuGURPGQNXaB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tmelsgBUePgy_NUQgnr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btagjSSuKzZ48hXfBoU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0hTS6kaQZCtzQD1lXmKYA"/>
</p:tagLst>
</file>

<file path=ppt/theme/theme1.xml><?xml version="1.0" encoding="utf-8"?>
<a:theme xmlns:a="http://schemas.openxmlformats.org/drawingml/2006/main" name="2_WS_16x9_RB_PPT">
  <a:themeElements>
    <a:clrScheme name="RB_Blue">
      <a:dk1>
        <a:srgbClr val="000000"/>
      </a:dk1>
      <a:lt1>
        <a:srgbClr val="FFFFFF"/>
      </a:lt1>
      <a:dk2>
        <a:srgbClr val="8D9399"/>
      </a:dk2>
      <a:lt2>
        <a:srgbClr val="00AAC9"/>
      </a:lt2>
      <a:accent1>
        <a:srgbClr val="FFFFFF"/>
      </a:accent1>
      <a:accent2>
        <a:srgbClr val="DEE0E3"/>
      </a:accent2>
      <a:accent3>
        <a:srgbClr val="8D9399"/>
      </a:accent3>
      <a:accent4>
        <a:srgbClr val="85CEDF"/>
      </a:accent4>
      <a:accent5>
        <a:srgbClr val="96AECA"/>
      </a:accent5>
      <a:accent6>
        <a:srgbClr val="156C9C"/>
      </a:accent6>
      <a:hlink>
        <a:srgbClr val="8D9399"/>
      </a:hlink>
      <a:folHlink>
        <a:srgbClr val="96AEC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3"/>
          </a:solidFill>
        </a:ln>
        <a:effectLst/>
      </a:spPr>
      <a:bodyPr lIns="72000" tIns="72000" rIns="72000" bIns="72000" rtlCol="0" anchor="t" anchorCtr="0">
        <a:noAutofit/>
      </a:bodyPr>
      <a:lstStyle>
        <a:defPPr algn="l">
          <a:lnSpc>
            <a:spcPct val="90000"/>
          </a:lnSpc>
          <a:spcBef>
            <a:spcPts val="400"/>
          </a:spcBef>
          <a:defRPr sz="1500" b="0" dirty="0" smtClean="0"/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9525">
          <a:solidFill>
            <a:schemeClr val="accent3"/>
          </a:solidFill>
        </a:ln>
        <a:effectLst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>
          <a:noFill/>
        </a:ln>
      </a:spPr>
      <a:bodyPr vert="horz" wrap="square" lIns="0" tIns="0" rIns="0" bIns="0" rtlCol="0">
        <a:spAutoFit/>
      </a:bodyPr>
      <a:lstStyle>
        <a:defPPr>
          <a:lnSpc>
            <a:spcPct val="90000"/>
          </a:lnSpc>
          <a:spcBef>
            <a:spcPts val="400"/>
          </a:spcBef>
          <a:buClr>
            <a:srgbClr val="000000"/>
          </a:buClr>
          <a:buSzPct val="100000"/>
          <a:defRPr sz="1500" b="0" noProof="0" dirty="0" smtClean="0">
            <a:latin typeface="+mn-lt"/>
            <a:cs typeface="Arial Narrow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WS_16x9_RB_PPT.potx" id="{5195D5D0-7CEE-422D-8EF8-B6020F4AF00B}" vid="{A7886D8B-5B51-49AB-B07F-94F9FF993DCC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Responsabil xmlns="c7dc4050-0f80-4010-96fe-e080933b61ef">
      <UserInfo>
        <DisplayName/>
        <AccountId xsi:nil="true"/>
        <AccountType/>
      </UserInfo>
    </Responsabil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BD314702F5F9F4A8226CD2E2F01979A" ma:contentTypeVersion="7" ma:contentTypeDescription="Create a new document." ma:contentTypeScope="" ma:versionID="b6e07204b548b207a6e5e576cdefe72d">
  <xsd:schema xmlns:xsd="http://www.w3.org/2001/XMLSchema" xmlns:xs="http://www.w3.org/2001/XMLSchema" xmlns:p="http://schemas.microsoft.com/office/2006/metadata/properties" xmlns:ns2="c7dc4050-0f80-4010-96fe-e080933b61ef" xmlns:ns3="e8b09706-2147-4ce1-8b7a-df0dbdcd3ccf" targetNamespace="http://schemas.microsoft.com/office/2006/metadata/properties" ma:root="true" ma:fieldsID="d406d91a4d12af2f5da9f2fa375d4266" ns2:_="" ns3:_="">
    <xsd:import namespace="c7dc4050-0f80-4010-96fe-e080933b61ef"/>
    <xsd:import namespace="e8b09706-2147-4ce1-8b7a-df0dbdcd3cc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Responsabil" minOccurs="0"/>
                <xsd:element ref="ns2:MediaServiceAutoTags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7dc4050-0f80-4010-96fe-e080933b61e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Responsabil" ma:index="12" nillable="true" ma:displayName="Responsabil" ma:format="Dropdown" ma:list="UserInfo" ma:SharePointGroup="0" ma:internalName="Responsabil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8b09706-2147-4ce1-8b7a-df0dbdcd3ccf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905B39C-849B-44E8-AB6E-30A0D9D0EFD0}">
  <ds:schemaRefs>
    <ds:schemaRef ds:uri="http://purl.org/dc/terms/"/>
    <ds:schemaRef ds:uri="http://schemas.microsoft.com/office/2006/documentManagement/types"/>
    <ds:schemaRef ds:uri="http://schemas.openxmlformats.org/package/2006/metadata/core-properties"/>
    <ds:schemaRef ds:uri="http://schemas.microsoft.com/office/2006/metadata/properties"/>
    <ds:schemaRef ds:uri="http://schemas.microsoft.com/office/infopath/2007/PartnerControls"/>
    <ds:schemaRef ds:uri="e8b09706-2147-4ce1-8b7a-df0dbdcd3ccf"/>
    <ds:schemaRef ds:uri="http://purl.org/dc/elements/1.1/"/>
    <ds:schemaRef ds:uri="c7dc4050-0f80-4010-96fe-e080933b61ef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1EEF46D8-2341-4415-8A61-3741AE337D5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7dc4050-0f80-4010-96fe-e080933b61ef"/>
    <ds:schemaRef ds:uri="e8b09706-2147-4ce1-8b7a-df0dbdcd3cc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FBB3699C-62C1-440C-B7A5-C1A8FAA00222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WS_16x9_RB_PPT (2)</Template>
  <TotalTime>10937</TotalTime>
  <Words>745</Words>
  <Application>Microsoft Office PowerPoint</Application>
  <PresentationFormat>Custom</PresentationFormat>
  <Paragraphs>42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2" baseType="lpstr">
      <vt:lpstr>Arial</vt:lpstr>
      <vt:lpstr>Arial Narrow</vt:lpstr>
      <vt:lpstr>Calibri</vt:lpstr>
      <vt:lpstr>Wingdings</vt:lpstr>
      <vt:lpstr>2_WS_16x9_RB_PPT</vt:lpstr>
      <vt:lpstr>think-cell Slide</vt:lpstr>
      <vt:lpstr>Proiect E-mobility: dezvoltarea unei retele proprii de incarcare vehicule electrice</vt:lpstr>
      <vt:lpstr>Electromobilitatea: Trenduri de piata cu focus pe 2020 – 1/2 </vt:lpstr>
      <vt:lpstr>Electromobilitatea: Trenduri de piata cu focus pe 2020 – 2/2 </vt:lpstr>
      <vt:lpstr>Descrierea proiectului 1/2</vt:lpstr>
      <vt:lpstr>Descrierea proiectului 2/2</vt:lpstr>
      <vt:lpstr>Grafic implementare si evaluare costuri invetitionale</vt:lpstr>
    </vt:vector>
  </TitlesOfParts>
  <Company>EFS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orina Vasile</dc:creator>
  <cp:lastModifiedBy>Daniela Mocanu</cp:lastModifiedBy>
  <cp:revision>2324</cp:revision>
  <cp:lastPrinted>2021-03-17T16:52:20Z</cp:lastPrinted>
  <dcterms:created xsi:type="dcterms:W3CDTF">2018-11-22T07:22:21Z</dcterms:created>
  <dcterms:modified xsi:type="dcterms:W3CDTF">2021-05-17T05:02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dlc_DocIdItemGuid">
    <vt:lpwstr>22978595-69af-43e2-b570-fd3beb1554fa</vt:lpwstr>
  </property>
  <property fmtid="{D5CDD505-2E9C-101B-9397-08002B2CF9AE}" pid="3" name="ContentTypeId">
    <vt:lpwstr>0x0101000BD314702F5F9F4A8226CD2E2F01979A</vt:lpwstr>
  </property>
  <property fmtid="{D5CDD505-2E9C-101B-9397-08002B2CF9AE}" pid="4" name="CRB_Language">
    <vt:lpwstr>9;#English|d114bc82-0915-479b-a4ff-1cfc3f16eaa4</vt:lpwstr>
  </property>
  <property fmtid="{D5CDD505-2E9C-101B-9397-08002B2CF9AE}" pid="5" name="TaxKeyword">
    <vt:lpwstr/>
  </property>
  <property fmtid="{D5CDD505-2E9C-101B-9397-08002B2CF9AE}" pid="6" name="CRB_CountriesCovered">
    <vt:lpwstr>102;#World|7043cc29-2bed-413c-99cb-5013485bec7d</vt:lpwstr>
  </property>
</Properties>
</file>